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1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 id="2147475261" r:id="rId95"/>
    <p:sldId id="2147475262" r:id="rId96"/>
    <p:sldId id="2147475263" r:id="rId97"/>
    <p:sldId id="2147475264" r:id="rId98"/>
    <p:sldId id="2147475265" r:id="rId99"/>
    <p:sldId id="2147475266" r:id="rId100"/>
    <p:sldId id="2147475267" r:id="rId101"/>
    <p:sldId id="2147475268" r:id="rId102"/>
    <p:sldId id="2147475269" r:id="rId103"/>
    <p:sldId id="2147475270" r:id="rId104"/>
    <p:sldId id="2147475271" r:id="rId105"/>
    <p:sldId id="2147475272" r:id="rId106"/>
    <p:sldId id="2147475273" r:id="rId107"/>
    <p:sldId id="2147475274" r:id="rId108"/>
    <p:sldId id="2147475275" r:id="rId10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E758B21B-08B7-4BBC-A223-53EECCE49F2B}">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gment" id="{A3ED5A3F-BC7E-41C1-9144-D091399A9075}">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notesMaster" Target="notesMasters/notesMaster1.xml"/><Relationship Id="rId111" Type="http://schemas.openxmlformats.org/officeDocument/2006/relationships/presProps" Target="presProps.xml"/><Relationship Id="rId112" Type="http://schemas.openxmlformats.org/officeDocument/2006/relationships/viewProps" Target="viewProps.xml"/><Relationship Id="rId113" Type="http://schemas.openxmlformats.org/officeDocument/2006/relationships/theme" Target="theme/theme1.xml"/><Relationship Id="rId114" Type="http://schemas.openxmlformats.org/officeDocument/2006/relationships/tableStyles" Target="tableStyles.xml"/><Relationship Id="rId115" Type="http://schemas.microsoft.com/office/2015/10/relationships/revisionInfo" Target="revisionInfo.xml"/><Relationship Id="rId11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3.xml.rels><?xml version='1.0' encoding='UTF-8' standalone='yes'?>
<Relationships xmlns="http://schemas.openxmlformats.org/package/2006/relationships"><Relationship Id="rId1" Type="http://schemas.openxmlformats.org/officeDocument/2006/relationships/package" Target="../embeddings/Microsoft_Excel_Worksheet1122.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7.xml.rels><?xml version='1.0' encoding='UTF-8' standalone='yes'?>
<Relationships xmlns="http://schemas.openxmlformats.org/package/2006/relationships"><Relationship Id="rId1" Type="http://schemas.openxmlformats.org/officeDocument/2006/relationships/package" Target="../embeddings/Microsoft_Excel_Worksheet1136.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5.xml.rels><?xml version='1.0' encoding='UTF-8' standalone='yes'?>
<Relationships xmlns="http://schemas.openxmlformats.org/package/2006/relationships"><Relationship Id="rId1" Type="http://schemas.openxmlformats.org/officeDocument/2006/relationships/package" Target="../embeddings/Microsoft_Excel_Worksheet1144.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5.xml.rels><?xml version='1.0' encoding='UTF-8' standalone='yes'?>
<Relationships xmlns="http://schemas.openxmlformats.org/package/2006/relationships"><Relationship Id="rId1" Type="http://schemas.openxmlformats.org/officeDocument/2006/relationships/package" Target="../embeddings/Microsoft_Excel_Worksheet115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393471530751234</c:v>
                </c:pt>
                <c:pt idx="1">
                  <c:v>0.0012430309911261195</c:v>
                </c:pt>
                <c:pt idx="3">
                  <c:v>0.001629995257987699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834538604963007</c:v>
                </c:pt>
                <c:pt idx="1">
                  <c:v>0.00106033378041670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6715986154547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691073299692082</c:v>
                </c:pt>
                <c:pt idx="6">
                  <c:v>0.0011951865149383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63891254811671</c:v>
                </c:pt>
                <c:pt idx="1">
                  <c:v>0.0674944113392715</c:v>
                </c:pt>
                <c:pt idx="2">
                  <c:v>0.014830469698480411</c:v>
                </c:pt>
                <c:pt idx="3">
                  <c:v>0.311340361511987</c:v>
                </c:pt>
                <c:pt idx="4">
                  <c:v>0.32670481642049026</c:v>
                </c:pt>
                <c:pt idx="5">
                  <c:v>0.031846622797020406</c:v>
                </c:pt>
                <c:pt idx="6">
                  <c:v>0.143652229809653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976271034793831</c:v>
                </c:pt>
                <c:pt idx="6">
                  <c:v>0.00128592131685925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517432645016517</c:v>
                </c:pt>
                <c:pt idx="4">
                  <c:v>0.0006784457039879892</c:v>
                </c:pt>
                <c:pt idx="6">
                  <c:v>0.00199978167720556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2576005671826116</c:v>
                </c:pt>
                <c:pt idx="4">
                  <c:v>0.06786666493262843</c:v>
                </c:pt>
                <c:pt idx="5">
                  <c:v>0.008211270959521691</c:v>
                </c:pt>
                <c:pt idx="6">
                  <c:v>0.0062452135411045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76871301591672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607887657487148</c:v>
                </c:pt>
                <c:pt idx="3">
                  <c:v>0.04837554402082686</c:v>
                </c:pt>
                <c:pt idx="4">
                  <c:v>0.12262810372529044</c:v>
                </c:pt>
                <c:pt idx="5">
                  <c:v>0.2195700507965970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8102326808575692</c:v>
                </c:pt>
                <c:pt idx="3">
                  <c:v>0.0391691856213148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0648334468520777</c:v>
                </c:pt>
                <c:pt idx="3">
                  <c:v>0.017484358702281023</c:v>
                </c:pt>
                <c:pt idx="4">
                  <c:v>0.012088902638272933</c:v>
                </c:pt>
                <c:pt idx="5">
                  <c:v>0.1322713503723673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658667067847325</c:v>
                </c:pt>
                <c:pt idx="3">
                  <c:v>0.003810980813723392</c:v>
                </c:pt>
                <c:pt idx="4">
                  <c:v>0.00204321968196073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55671138277131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72583186716399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1848336289215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335768983351551</c:v>
                </c:pt>
                <c:pt idx="3">
                  <c:v>0.0012833543223331198</c:v>
                </c:pt>
                <c:pt idx="4">
                  <c:v>0.0010648317203312502</c:v>
                </c:pt>
                <c:pt idx="5">
                  <c:v>0.118967840331981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676911684300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4936976888713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288730080364051</c:v>
                </c:pt>
                <c:pt idx="3">
                  <c:v>0.006361522945187123</c:v>
                </c:pt>
                <c:pt idx="5">
                  <c:v>0.0258062283297111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6355514652707585</c:v>
                </c:pt>
                <c:pt idx="4">
                  <c:v>0.00783353890702913</c:v>
                </c:pt>
                <c:pt idx="5">
                  <c:v>0.00442519059808957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144800947451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2682992961523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154196216617577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241828439885039</c:v>
                </c:pt>
                <c:pt idx="4">
                  <c:v>0.13213436575536114</c:v>
                </c:pt>
                <c:pt idx="5">
                  <c:v>0.01732206786493272</c:v>
                </c:pt>
                <c:pt idx="6">
                  <c:v>0.065927531347874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318125285631463</c:v>
                </c:pt>
                <c:pt idx="4">
                  <c:v>0.00088187587039402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934503778720295</c:v>
                </c:pt>
                <c:pt idx="4">
                  <c:v>0.02663993448986078</c:v>
                </c:pt>
                <c:pt idx="5">
                  <c:v>0.00193628550300684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9706521725407592</c:v>
                </c:pt>
                <c:pt idx="4">
                  <c:v>0.08286892610327612</c:v>
                </c:pt>
                <c:pt idx="5">
                  <c:v>0.0040641572851775705</c:v>
                </c:pt>
                <c:pt idx="6">
                  <c:v>0.049942801227729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598935437421412</c:v>
                </c:pt>
                <c:pt idx="5">
                  <c:v>0.000924981627180410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061583455267404</c:v>
                </c:pt>
                <c:pt idx="4">
                  <c:v>0.017993207589702825</c:v>
                </c:pt>
                <c:pt idx="5">
                  <c:v>0.0008345853013336351</c:v>
                </c:pt>
                <c:pt idx="6">
                  <c:v>0.00143361945724755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5081027880064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129779148175012</c:v>
                </c:pt>
                <c:pt idx="5">
                  <c:v>0.000668973698062417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2009999012054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151024843215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444376578649774</c:v>
                </c:pt>
                <c:pt idx="1">
                  <c:v>0.0031654837559785343</c:v>
                </c:pt>
                <c:pt idx="3">
                  <c:v>0.002550158767171827</c:v>
                </c:pt>
                <c:pt idx="6">
                  <c:v>0.00075132165276051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080445760386795</c:v>
                </c:pt>
                <c:pt idx="1">
                  <c:v>0.034045464200894715</c:v>
                </c:pt>
                <c:pt idx="2">
                  <c:v>0.0036132641452077535</c:v>
                </c:pt>
                <c:pt idx="3">
                  <c:v>0.06493867931236866</c:v>
                </c:pt>
                <c:pt idx="4">
                  <c:v>0.01533674862811337</c:v>
                </c:pt>
                <c:pt idx="5">
                  <c:v>0.0019313663103294148</c:v>
                </c:pt>
                <c:pt idx="6">
                  <c:v>0.00627570949353230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082568466201588</c:v>
                </c:pt>
                <c:pt idx="1">
                  <c:v>0.2087666780946049</c:v>
                </c:pt>
                <c:pt idx="2">
                  <c:v>0.043675373030733926</c:v>
                </c:pt>
                <c:pt idx="3">
                  <c:v>0.22167586302895856</c:v>
                </c:pt>
                <c:pt idx="4">
                  <c:v>0.1764182181966608</c:v>
                </c:pt>
                <c:pt idx="5">
                  <c:v>0.021559404935717695</c:v>
                </c:pt>
                <c:pt idx="6">
                  <c:v>0.09791942245184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5978306116918745</c:v>
                </c:pt>
                <c:pt idx="1">
                  <c:v>0.011610659437248313</c:v>
                </c:pt>
                <c:pt idx="2">
                  <c:v>0.008976888996987413</c:v>
                </c:pt>
                <c:pt idx="3">
                  <c:v>0.000717252364699575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24781657586923</c:v>
                </c:pt>
                <c:pt idx="1">
                  <c:v>0.013501382933519636</c:v>
                </c:pt>
                <c:pt idx="2">
                  <c:v>0.0011336472703081925</c:v>
                </c:pt>
                <c:pt idx="3">
                  <c:v>0.00058785843159740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012680382756997</c:v>
                </c:pt>
                <c:pt idx="1">
                  <c:v>0.0009245995303342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5457411727770247</c:v>
                </c:pt>
                <c:pt idx="5">
                  <c:v>0.001642624318752148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65276660096335</c:v>
                </c:pt>
                <c:pt idx="1">
                  <c:v>0.00363302122926731</c:v>
                </c:pt>
                <c:pt idx="2">
                  <c:v>0.000703325908151189</c:v>
                </c:pt>
                <c:pt idx="3">
                  <c:v>0.006873574846832327</c:v>
                </c:pt>
                <c:pt idx="4">
                  <c:v>0.0062671457783888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359727068466143</c:v>
                </c:pt>
                <c:pt idx="4">
                  <c:v>0.00077127039367763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8845843164303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6476015247063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958926946718405</c:v>
                </c:pt>
                <c:pt idx="4">
                  <c:v>0.01959176876387183</c:v>
                </c:pt>
                <c:pt idx="5">
                  <c:v>0.0007193684997808495</c:v>
                </c:pt>
                <c:pt idx="6">
                  <c:v>0.0120128814703488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161352181720513</c:v>
                </c:pt>
                <c:pt idx="4">
                  <c:v>0.01479798842438213</c:v>
                </c:pt>
                <c:pt idx="5">
                  <c:v>0.0006963295201984652</c:v>
                </c:pt>
                <c:pt idx="6">
                  <c:v>0.00530400557508503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685381958807617</c:v>
                </c:pt>
                <c:pt idx="4">
                  <c:v>0.003654862809815782</c:v>
                </c:pt>
                <c:pt idx="5">
                  <c:v>0.00076019932008969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7266843158295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723373823886665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634936048101665</c:v>
                </c:pt>
                <c:pt idx="1">
                  <c:v>0.19470830245296</c:v>
                </c:pt>
                <c:pt idx="2">
                  <c:v>0.03799840246175407</c:v>
                </c:pt>
                <c:pt idx="3">
                  <c:v>0.2642198946810881</c:v>
                </c:pt>
                <c:pt idx="4">
                  <c:v>0.1527909843893449</c:v>
                </c:pt>
                <c:pt idx="5">
                  <c:v>0.018381111293109247</c:v>
                </c:pt>
                <c:pt idx="6">
                  <c:v>0.0840866478437221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9890489262960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634936048101665</c:v>
                </c:pt>
                <c:pt idx="1">
                  <c:v>0.19470830245296</c:v>
                </c:pt>
                <c:pt idx="2">
                  <c:v>0.03799840246175407</c:v>
                </c:pt>
                <c:pt idx="3">
                  <c:v>0.2642198946810881</c:v>
                </c:pt>
                <c:pt idx="4">
                  <c:v>0.1527909843893449</c:v>
                </c:pt>
                <c:pt idx="5">
                  <c:v>0.018381111293109247</c:v>
                </c:pt>
                <c:pt idx="6">
                  <c:v>0.0840866478437221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95472304315569</c:v>
                </c:pt>
                <c:pt idx="1">
                  <c:v>0.2612660249758486</c:v>
                </c:pt>
                <c:pt idx="2">
                  <c:v>0.06437946287107497</c:v>
                </c:pt>
                <c:pt idx="3">
                  <c:v>0.20927082498692792</c:v>
                </c:pt>
                <c:pt idx="4">
                  <c:v>0.02991176611434467</c:v>
                </c:pt>
                <c:pt idx="5">
                  <c:v>0.01266161410778612</c:v>
                </c:pt>
                <c:pt idx="6">
                  <c:v>0.0354073738388326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858786058632921</c:v>
                </c:pt>
                <c:pt idx="4">
                  <c:v>0.03604997405042129</c:v>
                </c:pt>
                <c:pt idx="5">
                  <c:v>0.0008613300102536487</c:v>
                </c:pt>
                <c:pt idx="6">
                  <c:v>0.01520208401066706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5936010900310765</c:v>
                </c:pt>
                <c:pt idx="5">
                  <c:v>0.51802146363605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63891254811671</c:v>
                </c:pt>
                <c:pt idx="1">
                  <c:v>0.0674944113392715</c:v>
                </c:pt>
                <c:pt idx="2">
                  <c:v>0.014830469698480411</c:v>
                </c:pt>
                <c:pt idx="3">
                  <c:v>0.311340361511987</c:v>
                </c:pt>
                <c:pt idx="4">
                  <c:v>0.32670481642049026</c:v>
                </c:pt>
                <c:pt idx="5">
                  <c:v>0.031846622797020406</c:v>
                </c:pt>
                <c:pt idx="6">
                  <c:v>0.143652229809653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598935437421412</c:v>
                </c:pt>
                <c:pt idx="5">
                  <c:v>0.000924981627180410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1547485892510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004660361686232</c:v>
                </c:pt>
                <c:pt idx="3">
                  <c:v>0.03898267253860994</c:v>
                </c:pt>
                <c:pt idx="4">
                  <c:v>0.0683007308341002</c:v>
                </c:pt>
                <c:pt idx="5">
                  <c:v>0.011028273995328007</c:v>
                </c:pt>
                <c:pt idx="6">
                  <c:v>0.0434106044678380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02867877644882</c:v>
                </c:pt>
                <c:pt idx="4">
                  <c:v>0.013073785998613969</c:v>
                </c:pt>
                <c:pt idx="5">
                  <c:v>0.0010167038769933491</c:v>
                </c:pt>
                <c:pt idx="6">
                  <c:v>0.004080765998251455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03472343812779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817125565622242</c:v>
                </c:pt>
                <c:pt idx="4">
                  <c:v>0.023074635447974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118226190052804</c:v>
                </c:pt>
                <c:pt idx="3">
                  <c:v>0.0655274509333968</c:v>
                </c:pt>
                <c:pt idx="4">
                  <c:v>0.037613772151909336</c:v>
                </c:pt>
                <c:pt idx="5">
                  <c:v>0.004542024975548391</c:v>
                </c:pt>
                <c:pt idx="6">
                  <c:v>0.0332058150828603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562787582247831</c:v>
                </c:pt>
                <c:pt idx="4">
                  <c:v>0.018287003934608758</c:v>
                </c:pt>
                <c:pt idx="6">
                  <c:v>0.00713724361484752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20011293874222</c:v>
                </c:pt>
                <c:pt idx="4">
                  <c:v>0.007505238812093468</c:v>
                </c:pt>
                <c:pt idx="6">
                  <c:v>0.00069371587771156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85340093679934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879130247426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9941861981618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13556116870034</c:v>
                </c:pt>
                <c:pt idx="1">
                  <c:v>0.000979934826358286</c:v>
                </c:pt>
                <c:pt idx="2">
                  <c:v>0.0009495574375382925</c:v>
                </c:pt>
                <c:pt idx="3">
                  <c:v>0.0061123084375114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06859749560903</c:v>
                </c:pt>
                <c:pt idx="1">
                  <c:v>0.09950297928603674</c:v>
                </c:pt>
                <c:pt idx="2">
                  <c:v>0.021326559468824214</c:v>
                </c:pt>
                <c:pt idx="3">
                  <c:v>0.04864064496037529</c:v>
                </c:pt>
                <c:pt idx="4">
                  <c:v>0.00796247494033846</c:v>
                </c:pt>
                <c:pt idx="5">
                  <c:v>0.00276232276616328</c:v>
                </c:pt>
                <c:pt idx="6">
                  <c:v>0.00940411746613885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082568466201588</c:v>
                </c:pt>
                <c:pt idx="1">
                  <c:v>0.2087666780946049</c:v>
                </c:pt>
                <c:pt idx="2">
                  <c:v>0.043675373030733926</c:v>
                </c:pt>
                <c:pt idx="3">
                  <c:v>0.22167586302895856</c:v>
                </c:pt>
                <c:pt idx="4">
                  <c:v>0.1764182181966608</c:v>
                </c:pt>
                <c:pt idx="5">
                  <c:v>0.021559404935717695</c:v>
                </c:pt>
                <c:pt idx="6">
                  <c:v>0.09791942245184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2939801769624523</c:v>
                </c:pt>
                <c:pt idx="1">
                  <c:v>0.047333613698353136</c:v>
                </c:pt>
                <c:pt idx="2">
                  <c:v>0.00123751992236763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649090573104395</c:v>
                </c:pt>
                <c:pt idx="1">
                  <c:v>0.051815470780811085</c:v>
                </c:pt>
                <c:pt idx="2">
                  <c:v>0.01594215709113453</c:v>
                </c:pt>
                <c:pt idx="3">
                  <c:v>0.00204688213417393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99770776906813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31189182274407</c:v>
                </c:pt>
                <c:pt idx="1">
                  <c:v>0.006896676459028559</c:v>
                </c:pt>
                <c:pt idx="2">
                  <c:v>0.0005509926467823818</c:v>
                </c:pt>
                <c:pt idx="3">
                  <c:v>0.005173668519806229</c:v>
                </c:pt>
                <c:pt idx="4">
                  <c:v>0.0032591965878144944</c:v>
                </c:pt>
                <c:pt idx="5">
                  <c:v>0.00127294574098991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28755046155319</c:v>
                </c:pt>
                <c:pt idx="1">
                  <c:v>0.0010146510037460652</c:v>
                </c:pt>
                <c:pt idx="3">
                  <c:v>0.0007151970749012828</c:v>
                </c:pt>
                <c:pt idx="4">
                  <c:v>0.000703762363058966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03454241970187</c:v>
                </c:pt>
                <c:pt idx="1">
                  <c:v>0.000562832308963888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946456580201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2901108669346153</c:v>
                </c:pt>
                <c:pt idx="6">
                  <c:v>0.0059065435354809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675883902974763</c:v>
                </c:pt>
                <c:pt idx="4">
                  <c:v>0.007811215718171283</c:v>
                </c:pt>
                <c:pt idx="6">
                  <c:v>0.00280586642078199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03866470166862</c:v>
                </c:pt>
                <c:pt idx="4">
                  <c:v>0.007046621059804742</c:v>
                </c:pt>
                <c:pt idx="6">
                  <c:v>0.002805820448158946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038506398120113</c:v>
                </c:pt>
                <c:pt idx="4">
                  <c:v>0.0030163437612102514</c:v>
                </c:pt>
                <c:pt idx="6">
                  <c:v>0.00123451042730458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09084141871889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24346268188335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4395012621992636</c:v>
                </c:pt>
                <c:pt idx="4">
                  <c:v>0.06732843068618344</c:v>
                </c:pt>
                <c:pt idx="5">
                  <c:v>0.010452326344932612</c:v>
                </c:pt>
                <c:pt idx="6">
                  <c:v>0.035927702047731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7637197050039</c:v>
                </c:pt>
                <c:pt idx="4">
                  <c:v>0.012647326803714777</c:v>
                </c:pt>
                <c:pt idx="6">
                  <c:v>0.00445893503835662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95472304315569</c:v>
                </c:pt>
                <c:pt idx="1">
                  <c:v>0.2612660249758486</c:v>
                </c:pt>
                <c:pt idx="2">
                  <c:v>0.06437946287107497</c:v>
                </c:pt>
                <c:pt idx="3">
                  <c:v>0.20927082498692792</c:v>
                </c:pt>
                <c:pt idx="4">
                  <c:v>0.02991176611434467</c:v>
                </c:pt>
                <c:pt idx="5">
                  <c:v>0.01266161410778612</c:v>
                </c:pt>
                <c:pt idx="6">
                  <c:v>0.0354073738388326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4378468336454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159071004658415</c:v>
                </c:pt>
                <c:pt idx="4">
                  <c:v>0.006012601386635709</c:v>
                </c:pt>
                <c:pt idx="5">
                  <c:v>0.00058312967856626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607205781942899</c:v>
                </c:pt>
                <c:pt idx="3">
                  <c:v>0.07258751816421834</c:v>
                </c:pt>
                <c:pt idx="4">
                  <c:v>0.03552463927982457</c:v>
                </c:pt>
                <c:pt idx="5">
                  <c:v>0.0020458479143510492</c:v>
                </c:pt>
                <c:pt idx="6">
                  <c:v>0.0320139209163047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86068088714211</c:v>
                </c:pt>
                <c:pt idx="4">
                  <c:v>0.017854002723220134</c:v>
                </c:pt>
                <c:pt idx="6">
                  <c:v>0.007709499211795629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45063770946134</c:v>
                </c:pt>
                <c:pt idx="4">
                  <c:v>0.007007337785007434</c:v>
                </c:pt>
                <c:pt idx="6">
                  <c:v>0.000728958025502789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116897634436447</c:v>
                </c:pt>
                <c:pt idx="4">
                  <c:v>0.01058043176510443</c:v>
                </c:pt>
                <c:pt idx="5">
                  <c:v>0.0015036512084045978</c:v>
                </c:pt>
                <c:pt idx="6">
                  <c:v>0.0025456501637462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2217076632689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9407507246507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6116471109371147</c:v>
                </c:pt>
                <c:pt idx="4">
                  <c:v>0.00062244156572642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073994047673462</c:v>
                </c:pt>
                <c:pt idx="1">
                  <c:v>0.002302810392097572</c:v>
                </c:pt>
                <c:pt idx="2">
                  <c:v>0.0012653995581036325</c:v>
                </c:pt>
                <c:pt idx="3">
                  <c:v>0.0058787141363871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977726176470597</c:v>
                </c:pt>
                <c:pt idx="1">
                  <c:v>0.09272115227662658</c:v>
                </c:pt>
                <c:pt idx="2">
                  <c:v>0.01591807565452656</c:v>
                </c:pt>
                <c:pt idx="3">
                  <c:v>0.05096606738742252</c:v>
                </c:pt>
                <c:pt idx="4">
                  <c:v>0.011112999534204167</c:v>
                </c:pt>
                <c:pt idx="5">
                  <c:v>0.0017278374011150542</c:v>
                </c:pt>
                <c:pt idx="6">
                  <c:v>0.00393095700107925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224390871811716</c:v>
                </c:pt>
                <c:pt idx="1">
                  <c:v>0.0552666188302981</c:v>
                </c:pt>
                <c:pt idx="2">
                  <c:v>0.00142577552657276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056980596781785</c:v>
                </c:pt>
                <c:pt idx="1">
                  <c:v>0.035376044567647494</c:v>
                </c:pt>
                <c:pt idx="2">
                  <c:v>0.014084415329312514</c:v>
                </c:pt>
                <c:pt idx="3">
                  <c:v>0.001691521716811664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7209370574336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09102724743606</c:v>
                </c:pt>
                <c:pt idx="1">
                  <c:v>0.006679687233131407</c:v>
                </c:pt>
                <c:pt idx="2">
                  <c:v>0.0013335234811846642</c:v>
                </c:pt>
                <c:pt idx="3">
                  <c:v>0.0053668233913012064</c:v>
                </c:pt>
                <c:pt idx="4">
                  <c:v>0.003176466886033879</c:v>
                </c:pt>
                <c:pt idx="5">
                  <c:v>0.0011152091238537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956265841326384</c:v>
                </c:pt>
                <c:pt idx="1">
                  <c:v>0.0009662384112823264</c:v>
                </c:pt>
                <c:pt idx="3">
                  <c:v>0.00104110942275133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404317499459507</c:v>
                </c:pt>
                <c:pt idx="1">
                  <c:v>0.000601810354361829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452120240396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7898755920737007</c:v>
                </c:pt>
                <c:pt idx="4">
                  <c:v>0.009955503507231643</c:v>
                </c:pt>
                <c:pt idx="6">
                  <c:v>0.0059644668996385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89649452241687</c:v>
                </c:pt>
                <c:pt idx="4">
                  <c:v>0.007066105412969957</c:v>
                </c:pt>
                <c:pt idx="6">
                  <c:v>0.00304904753985766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145080772868671</c:v>
                </c:pt>
                <c:pt idx="4">
                  <c:v>0.0055486445234863785</c:v>
                </c:pt>
                <c:pt idx="6">
                  <c:v>0.003033649760514809</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431160627284236</c:v>
                </c:pt>
                <c:pt idx="4">
                  <c:v>0.0009157419874287814</c:v>
                </c:pt>
                <c:pt idx="6">
                  <c:v>0.0012950437831996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27987369918258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630131060365274</c:v>
                </c:pt>
                <c:pt idx="4">
                  <c:v>0.03840741099302747</c:v>
                </c:pt>
                <c:pt idx="5">
                  <c:v>0.0012781198618998933</c:v>
                </c:pt>
                <c:pt idx="6">
                  <c:v>0.0140273044177912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161093211369769</c:v>
                </c:pt>
                <c:pt idx="4">
                  <c:v>0.010432819606717656</c:v>
                </c:pt>
                <c:pt idx="5">
                  <c:v>0.007850626157050703</c:v>
                </c:pt>
                <c:pt idx="6">
                  <c:v>0.0111625259453390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642544244570699</c:v>
                </c:pt>
                <c:pt idx="4">
                  <c:v>0.005361926862040679</c:v>
                </c:pt>
                <c:pt idx="5">
                  <c:v>0.000779537567997961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48059732607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8253430425111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990928512807237</c:v>
                </c:pt>
                <c:pt idx="3">
                  <c:v>0.04284660947542722</c:v>
                </c:pt>
                <c:pt idx="4">
                  <c:v>0.007399391986065902</c:v>
                </c:pt>
                <c:pt idx="5">
                  <c:v>0.0016426667554118326</c:v>
                </c:pt>
                <c:pt idx="6">
                  <c:v>0.017165812772157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264644223222544</c:v>
                </c:pt>
                <c:pt idx="4">
                  <c:v>0.005032785040767666</c:v>
                </c:pt>
                <c:pt idx="5">
                  <c:v>0.0007241136404066365</c:v>
                </c:pt>
                <c:pt idx="6">
                  <c:v>0.000880824503784151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9919816044278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1892289075792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739110058994529</c:v>
                </c:pt>
                <c:pt idx="3">
                  <c:v>0.0005063275335957369</c:v>
                </c:pt>
                <c:pt idx="4">
                  <c:v>0.00117191531688576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69541783450998</c:v>
                </c:pt>
                <c:pt idx="1">
                  <c:v>0.0025745601853596235</c:v>
                </c:pt>
                <c:pt idx="2">
                  <c:v>0.003838872258043006</c:v>
                </c:pt>
                <c:pt idx="3">
                  <c:v>0.0065795485531335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6645763428569546</c:v>
                </c:pt>
                <c:pt idx="1">
                  <c:v>0.12315911461467965</c:v>
                </c:pt>
                <c:pt idx="2">
                  <c:v>0.026394262595811978</c:v>
                </c:pt>
                <c:pt idx="3">
                  <c:v>0.04170059642321119</c:v>
                </c:pt>
                <c:pt idx="4">
                  <c:v>0.007006119117180325</c:v>
                </c:pt>
                <c:pt idx="5">
                  <c:v>0.0021558818602196027</c:v>
                </c:pt>
                <c:pt idx="6">
                  <c:v>0.002099753079683174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492171530345138</c:v>
                </c:pt>
                <c:pt idx="1">
                  <c:v>0.08126357518184163</c:v>
                </c:pt>
                <c:pt idx="2">
                  <c:v>0.0016198390333431267</c:v>
                </c:pt>
                <c:pt idx="3">
                  <c:v>0.00085940168288209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301464028671254</c:v>
                </c:pt>
                <c:pt idx="1">
                  <c:v>0.04126410170266737</c:v>
                </c:pt>
                <c:pt idx="2">
                  <c:v>0.02455370032815051</c:v>
                </c:pt>
                <c:pt idx="3">
                  <c:v>0.00274791701348362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855540387940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762628162180999</c:v>
                </c:pt>
                <c:pt idx="1">
                  <c:v>0.01007452128151302</c:v>
                </c:pt>
                <c:pt idx="2">
                  <c:v>0.0009764985615166986</c:v>
                </c:pt>
                <c:pt idx="3">
                  <c:v>0.0059484005477930665</c:v>
                </c:pt>
                <c:pt idx="4">
                  <c:v>0.001249446738485329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393471530751234</c:v>
                </c:pt>
                <c:pt idx="1">
                  <c:v>0.0012430309911261195</c:v>
                </c:pt>
                <c:pt idx="3">
                  <c:v>0.001629995257987699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834538604963007</c:v>
                </c:pt>
                <c:pt idx="1">
                  <c:v>0.00106033378041670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6715986154547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691073299692082</c:v>
                </c:pt>
                <c:pt idx="6">
                  <c:v>0.0011951865149383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5936010900310765</c:v>
                </c:pt>
                <c:pt idx="5">
                  <c:v>0.51802146363605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976271034793831</c:v>
                </c:pt>
                <c:pt idx="6">
                  <c:v>0.00128592131685925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82791115764031</c:v>
                </c:pt>
                <c:pt idx="6">
                  <c:v>0.0012858309880564777</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517432645016517</c:v>
                </c:pt>
                <c:pt idx="4">
                  <c:v>0.0006784457039879892</c:v>
                </c:pt>
                <c:pt idx="6">
                  <c:v>0.00199978167720556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501323182018693</c:v>
                </c:pt>
                <c:pt idx="3">
                  <c:v>0.009769518102139246</c:v>
                </c:pt>
                <c:pt idx="4">
                  <c:v>0.013510103953034239</c:v>
                </c:pt>
                <c:pt idx="5">
                  <c:v>0.0097945134150275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76871301591672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607887657487148</c:v>
                </c:pt>
                <c:pt idx="3">
                  <c:v>0.04837554402082686</c:v>
                </c:pt>
                <c:pt idx="4">
                  <c:v>0.12262810372529044</c:v>
                </c:pt>
                <c:pt idx="5">
                  <c:v>0.2195700507965970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1502421563177835</c:v>
                </c:pt>
                <c:pt idx="4">
                  <c:v>0.01130439511774440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8102326808575692</c:v>
                </c:pt>
                <c:pt idx="3">
                  <c:v>0.0391691856213148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0648334468520777</c:v>
                </c:pt>
                <c:pt idx="3">
                  <c:v>0.017484358702281023</c:v>
                </c:pt>
                <c:pt idx="4">
                  <c:v>0.012088902638272933</c:v>
                </c:pt>
                <c:pt idx="5">
                  <c:v>0.1322713503723673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08657717167479348</c:v>
                </c:pt>
                <c:pt idx="3">
                  <c:v>0.005619275945821463</c:v>
                </c:pt>
                <c:pt idx="5">
                  <c:v>0.005369322816938016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658667067847325</c:v>
                </c:pt>
                <c:pt idx="3">
                  <c:v>0.003810980813723392</c:v>
                </c:pt>
                <c:pt idx="4">
                  <c:v>0.00204321968196073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55671138277131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72583186716399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1848336289215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335768983351551</c:v>
                </c:pt>
                <c:pt idx="3">
                  <c:v>0.0012833543223331198</c:v>
                </c:pt>
                <c:pt idx="4">
                  <c:v>0.0010648317203312502</c:v>
                </c:pt>
                <c:pt idx="5">
                  <c:v>0.118967840331981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676911684300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4936976888713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288730080364051</c:v>
                </c:pt>
                <c:pt idx="3">
                  <c:v>0.006361522945187123</c:v>
                </c:pt>
                <c:pt idx="5">
                  <c:v>0.0258062283297111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6355514652707585</c:v>
                </c:pt>
                <c:pt idx="4">
                  <c:v>0.00783353890702913</c:v>
                </c:pt>
                <c:pt idx="5">
                  <c:v>0.00442519059808957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6355514652707585</c:v>
                </c:pt>
                <c:pt idx="4">
                  <c:v>0.001900036170611335</c:v>
                </c:pt>
                <c:pt idx="5">
                  <c:v>0.00442519059808957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144800947451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2682992961523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154196216617577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241828439885039</c:v>
                </c:pt>
                <c:pt idx="4">
                  <c:v>0.13213436575536114</c:v>
                </c:pt>
                <c:pt idx="5">
                  <c:v>0.01732206786493272</c:v>
                </c:pt>
                <c:pt idx="6">
                  <c:v>0.065927531347874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576756936286036</c:v>
                </c:pt>
                <c:pt idx="4">
                  <c:v>0.01776328202937841</c:v>
                </c:pt>
                <c:pt idx="6">
                  <c:v>0.00957758782960701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318125285631463</c:v>
                </c:pt>
                <c:pt idx="4">
                  <c:v>0.00088187587039402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934503778720295</c:v>
                </c:pt>
                <c:pt idx="4">
                  <c:v>0.02663993448986078</c:v>
                </c:pt>
                <c:pt idx="5">
                  <c:v>0.00193628550300684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9706521725407592</c:v>
                </c:pt>
                <c:pt idx="4">
                  <c:v>0.08286892610327612</c:v>
                </c:pt>
                <c:pt idx="5">
                  <c:v>0.0040641572851775705</c:v>
                </c:pt>
                <c:pt idx="6">
                  <c:v>0.049942801227729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5456511195688574</c:v>
                </c:pt>
                <c:pt idx="4">
                  <c:v>0.032126294567919884</c:v>
                </c:pt>
                <c:pt idx="5">
                  <c:v>0.0007247647050815458</c:v>
                </c:pt>
                <c:pt idx="6">
                  <c:v>0.0163983231850266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061583455267404</c:v>
                </c:pt>
                <c:pt idx="4">
                  <c:v>0.017993207589702825</c:v>
                </c:pt>
                <c:pt idx="5">
                  <c:v>0.0008345853013336351</c:v>
                </c:pt>
                <c:pt idx="6">
                  <c:v>0.00143361945724755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5081027880064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129779148175012</c:v>
                </c:pt>
                <c:pt idx="5">
                  <c:v>0.000668973698062417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2009999012054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151024843215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444376578649774</c:v>
                </c:pt>
                <c:pt idx="1">
                  <c:v>0.0031654837559785343</c:v>
                </c:pt>
                <c:pt idx="3">
                  <c:v>0.002550158767171827</c:v>
                </c:pt>
                <c:pt idx="6">
                  <c:v>0.00075132165276051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080445760386795</c:v>
                </c:pt>
                <c:pt idx="1">
                  <c:v>0.034045464200894715</c:v>
                </c:pt>
                <c:pt idx="2">
                  <c:v>0.0036132641452077535</c:v>
                </c:pt>
                <c:pt idx="3">
                  <c:v>0.06493867931236866</c:v>
                </c:pt>
                <c:pt idx="4">
                  <c:v>0.01533674862811337</c:v>
                </c:pt>
                <c:pt idx="5">
                  <c:v>0.0019313663103294148</c:v>
                </c:pt>
                <c:pt idx="6">
                  <c:v>0.00627570949353230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63891254811671</c:v>
                </c:pt>
                <c:pt idx="1">
                  <c:v>0.0674944113392715</c:v>
                </c:pt>
                <c:pt idx="2">
                  <c:v>0.014830469698480411</c:v>
                </c:pt>
                <c:pt idx="3">
                  <c:v>0.311340361511987</c:v>
                </c:pt>
                <c:pt idx="4">
                  <c:v>0.32670481642049026</c:v>
                </c:pt>
                <c:pt idx="5">
                  <c:v>0.031846622797020406</c:v>
                </c:pt>
                <c:pt idx="6">
                  <c:v>0.143652229809653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5978306116918745</c:v>
                </c:pt>
                <c:pt idx="1">
                  <c:v>0.011610659437248313</c:v>
                </c:pt>
                <c:pt idx="2">
                  <c:v>0.008976888996987413</c:v>
                </c:pt>
                <c:pt idx="3">
                  <c:v>0.000717252364699575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24781657586923</c:v>
                </c:pt>
                <c:pt idx="1">
                  <c:v>0.013501382933519636</c:v>
                </c:pt>
                <c:pt idx="2">
                  <c:v>0.0011336472703081925</c:v>
                </c:pt>
                <c:pt idx="3">
                  <c:v>0.00058785843159740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012680382756997</c:v>
                </c:pt>
                <c:pt idx="1">
                  <c:v>0.0009245995303342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498668281451746</c:v>
                </c:pt>
                <c:pt idx="4">
                  <c:v>0.062054157816797184</c:v>
                </c:pt>
                <c:pt idx="5">
                  <c:v>0.001701873955346538</c:v>
                </c:pt>
                <c:pt idx="6">
                  <c:v>0.0312299416077835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65276660096335</c:v>
                </c:pt>
                <c:pt idx="1">
                  <c:v>0.00363302122926731</c:v>
                </c:pt>
                <c:pt idx="2">
                  <c:v>0.000703325908151189</c:v>
                </c:pt>
                <c:pt idx="3">
                  <c:v>0.006873574846832327</c:v>
                </c:pt>
                <c:pt idx="4">
                  <c:v>0.0062671457783888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359727068466143</c:v>
                </c:pt>
                <c:pt idx="4">
                  <c:v>0.00077127039367763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8845843164303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6476015247063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958926946718405</c:v>
                </c:pt>
                <c:pt idx="4">
                  <c:v>0.01959176876387183</c:v>
                </c:pt>
                <c:pt idx="5">
                  <c:v>0.0007193684997808495</c:v>
                </c:pt>
                <c:pt idx="6">
                  <c:v>0.0120128814703488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161352181720513</c:v>
                </c:pt>
                <c:pt idx="4">
                  <c:v>0.01479798842438213</c:v>
                </c:pt>
                <c:pt idx="5">
                  <c:v>0.0006963295201984652</c:v>
                </c:pt>
                <c:pt idx="6">
                  <c:v>0.00530400557508503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2953414682542852</c:v>
                </c:pt>
                <c:pt idx="4">
                  <c:v>0.012164581219498895</c:v>
                </c:pt>
                <c:pt idx="5">
                  <c:v>0.0006882695887948883</c:v>
                </c:pt>
                <c:pt idx="6">
                  <c:v>0.005254030593149834</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685381958807617</c:v>
                </c:pt>
                <c:pt idx="4">
                  <c:v>0.003654862809815782</c:v>
                </c:pt>
                <c:pt idx="5">
                  <c:v>0.00076019932008969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7266843158295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723373823886665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1547485892510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004660361686232</c:v>
                </c:pt>
                <c:pt idx="3">
                  <c:v>0.03898267253860994</c:v>
                </c:pt>
                <c:pt idx="4">
                  <c:v>0.0683007308341002</c:v>
                </c:pt>
                <c:pt idx="5">
                  <c:v>0.011028273995328007</c:v>
                </c:pt>
                <c:pt idx="6">
                  <c:v>0.0434106044678380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8682732182733018</c:v>
                </c:pt>
                <c:pt idx="5">
                  <c:v>0.001288798470814204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03472343812779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817125565622242</c:v>
                </c:pt>
                <c:pt idx="4">
                  <c:v>0.023074635447974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118226190052804</c:v>
                </c:pt>
                <c:pt idx="3">
                  <c:v>0.0655274509333968</c:v>
                </c:pt>
                <c:pt idx="4">
                  <c:v>0.037613772151909336</c:v>
                </c:pt>
                <c:pt idx="5">
                  <c:v>0.004542024975548391</c:v>
                </c:pt>
                <c:pt idx="6">
                  <c:v>0.0332058150828603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48354014312217</c:v>
                </c:pt>
                <c:pt idx="4">
                  <c:v>0.004607524714771499</c:v>
                </c:pt>
                <c:pt idx="5">
                  <c:v>0.0008637510038302588</c:v>
                </c:pt>
                <c:pt idx="6">
                  <c:v>0.00391792118600568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20011293874222</c:v>
                </c:pt>
                <c:pt idx="4">
                  <c:v>0.007505238812093468</c:v>
                </c:pt>
                <c:pt idx="6">
                  <c:v>0.00069371587771156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327010697700024</c:v>
                </c:pt>
                <c:pt idx="4">
                  <c:v>0.0071662772825842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85340093679934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879130247426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9941861981618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13556116870034</c:v>
                </c:pt>
                <c:pt idx="1">
                  <c:v>0.000979934826358286</c:v>
                </c:pt>
                <c:pt idx="2">
                  <c:v>0.0009495574375382925</c:v>
                </c:pt>
                <c:pt idx="3">
                  <c:v>0.0061123084375114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06859749560903</c:v>
                </c:pt>
                <c:pt idx="1">
                  <c:v>0.09950297928603674</c:v>
                </c:pt>
                <c:pt idx="2">
                  <c:v>0.021326559468824214</c:v>
                </c:pt>
                <c:pt idx="3">
                  <c:v>0.04864064496037529</c:v>
                </c:pt>
                <c:pt idx="4">
                  <c:v>0.00796247494033846</c:v>
                </c:pt>
                <c:pt idx="5">
                  <c:v>0.00276232276616328</c:v>
                </c:pt>
                <c:pt idx="6">
                  <c:v>0.00940411746613885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2939801769624523</c:v>
                </c:pt>
                <c:pt idx="1">
                  <c:v>0.047333613698353136</c:v>
                </c:pt>
                <c:pt idx="2">
                  <c:v>0.00123751992236763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649090573104395</c:v>
                </c:pt>
                <c:pt idx="1">
                  <c:v>0.051815470780811085</c:v>
                </c:pt>
                <c:pt idx="2">
                  <c:v>0.01594215709113453</c:v>
                </c:pt>
                <c:pt idx="3">
                  <c:v>0.00204688213417393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99770776906813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31189182274407</c:v>
                </c:pt>
                <c:pt idx="1">
                  <c:v>0.006896676459028559</c:v>
                </c:pt>
                <c:pt idx="2">
                  <c:v>0.0005509926467823818</c:v>
                </c:pt>
                <c:pt idx="3">
                  <c:v>0.005173668519806229</c:v>
                </c:pt>
                <c:pt idx="4">
                  <c:v>0.0032591965878144944</c:v>
                </c:pt>
                <c:pt idx="5">
                  <c:v>0.00127294574098991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28755046155319</c:v>
                </c:pt>
                <c:pt idx="1">
                  <c:v>0.0010146510037460652</c:v>
                </c:pt>
                <c:pt idx="3">
                  <c:v>0.0007151970749012828</c:v>
                </c:pt>
                <c:pt idx="4">
                  <c:v>0.000703762363058966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03454241970187</c:v>
                </c:pt>
                <c:pt idx="1">
                  <c:v>0.000562832308963888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946456580201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2901108669346153</c:v>
                </c:pt>
                <c:pt idx="6">
                  <c:v>0.0059065435354809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2875696323815362</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675883902974763</c:v>
                </c:pt>
                <c:pt idx="4">
                  <c:v>0.007811215718171283</c:v>
                </c:pt>
                <c:pt idx="6">
                  <c:v>0.00280586642078199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637219201306142</c:v>
                </c:pt>
                <c:pt idx="4">
                  <c:v>0.0007564450327903365</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038506398120113</c:v>
                </c:pt>
                <c:pt idx="4">
                  <c:v>0.0030163437612102514</c:v>
                </c:pt>
                <c:pt idx="6">
                  <c:v>0.00123451042730458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942900948716408</c:v>
                </c:pt>
                <c:pt idx="4">
                  <c:v>0.0026511536275759377</c:v>
                </c:pt>
                <c:pt idx="6">
                  <c:v>0.00117923886310400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09084141871889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24346268188335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4395012621992636</c:v>
                </c:pt>
                <c:pt idx="4">
                  <c:v>0.06732843068618344</c:v>
                </c:pt>
                <c:pt idx="5">
                  <c:v>0.010452326344932612</c:v>
                </c:pt>
                <c:pt idx="6">
                  <c:v>0.035927702047731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5959756435354963</c:v>
                </c:pt>
                <c:pt idx="4">
                  <c:v>0.009068022964561464</c:v>
                </c:pt>
                <c:pt idx="5">
                  <c:v>0.000868530069159447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082568466201588</c:v>
                </c:pt>
                <c:pt idx="1">
                  <c:v>0.2087666780946049</c:v>
                </c:pt>
                <c:pt idx="2">
                  <c:v>0.043675373030733926</c:v>
                </c:pt>
                <c:pt idx="3">
                  <c:v>0.22167586302895856</c:v>
                </c:pt>
                <c:pt idx="4">
                  <c:v>0.1764182181966608</c:v>
                </c:pt>
                <c:pt idx="5">
                  <c:v>0.021559404935717695</c:v>
                </c:pt>
                <c:pt idx="6">
                  <c:v>0.09791942245184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4378468336454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159071004658415</c:v>
                </c:pt>
                <c:pt idx="4">
                  <c:v>0.006012601386635709</c:v>
                </c:pt>
                <c:pt idx="5">
                  <c:v>0.00058312967856626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607205781942899</c:v>
                </c:pt>
                <c:pt idx="3">
                  <c:v>0.07258751816421834</c:v>
                </c:pt>
                <c:pt idx="4">
                  <c:v>0.03552463927982457</c:v>
                </c:pt>
                <c:pt idx="5">
                  <c:v>0.0020458479143510492</c:v>
                </c:pt>
                <c:pt idx="6">
                  <c:v>0.0320139209163047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03471744447613</c:v>
                </c:pt>
                <c:pt idx="4">
                  <c:v>0.0035764747177841746</c:v>
                </c:pt>
                <c:pt idx="5">
                  <c:v>0.0006961266472784451</c:v>
                </c:pt>
                <c:pt idx="6">
                  <c:v>0.004211793894732699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45063770946134</c:v>
                </c:pt>
                <c:pt idx="4">
                  <c:v>0.007007337785007434</c:v>
                </c:pt>
                <c:pt idx="6">
                  <c:v>0.000728958025502789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82033699690256</c:v>
                </c:pt>
                <c:pt idx="4">
                  <c:v>0.00662872416114227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35004871864363</c:v>
                </c:pt>
                <c:pt idx="4">
                  <c:v>0.03712425297180491</c:v>
                </c:pt>
                <c:pt idx="5">
                  <c:v>0.003069581770446634</c:v>
                </c:pt>
                <c:pt idx="6">
                  <c:v>0.00556706554756811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2217076632689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9407507246507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6116471109371147</c:v>
                </c:pt>
                <c:pt idx="4">
                  <c:v>0.00062244156572642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073994047673462</c:v>
                </c:pt>
                <c:pt idx="1">
                  <c:v>0.002302810392097572</c:v>
                </c:pt>
                <c:pt idx="2">
                  <c:v>0.0012653995581036325</c:v>
                </c:pt>
                <c:pt idx="3">
                  <c:v>0.0058787141363871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977726176470597</c:v>
                </c:pt>
                <c:pt idx="1">
                  <c:v>0.09272115227662658</c:v>
                </c:pt>
                <c:pt idx="2">
                  <c:v>0.01591807565452656</c:v>
                </c:pt>
                <c:pt idx="3">
                  <c:v>0.05096606738742252</c:v>
                </c:pt>
                <c:pt idx="4">
                  <c:v>0.011112999534204167</c:v>
                </c:pt>
                <c:pt idx="5">
                  <c:v>0.0017278374011150542</c:v>
                </c:pt>
                <c:pt idx="6">
                  <c:v>0.00393095700107925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224390871811716</c:v>
                </c:pt>
                <c:pt idx="1">
                  <c:v>0.0552666188302981</c:v>
                </c:pt>
                <c:pt idx="2">
                  <c:v>0.00142577552657276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056980596781785</c:v>
                </c:pt>
                <c:pt idx="1">
                  <c:v>0.035376044567647494</c:v>
                </c:pt>
                <c:pt idx="2">
                  <c:v>0.014084415329312514</c:v>
                </c:pt>
                <c:pt idx="3">
                  <c:v>0.001691521716811664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7209370574336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09102724743606</c:v>
                </c:pt>
                <c:pt idx="1">
                  <c:v>0.006679687233131407</c:v>
                </c:pt>
                <c:pt idx="2">
                  <c:v>0.0013335234811846642</c:v>
                </c:pt>
                <c:pt idx="3">
                  <c:v>0.0053668233913012064</c:v>
                </c:pt>
                <c:pt idx="4">
                  <c:v>0.003176466886033879</c:v>
                </c:pt>
                <c:pt idx="5">
                  <c:v>0.0011152091238537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956265841326384</c:v>
                </c:pt>
                <c:pt idx="1">
                  <c:v>0.0009662384112823264</c:v>
                </c:pt>
                <c:pt idx="3">
                  <c:v>0.00104110942275133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404317499459507</c:v>
                </c:pt>
                <c:pt idx="1">
                  <c:v>0.000601810354361829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452120240396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7898755920737007</c:v>
                </c:pt>
                <c:pt idx="4">
                  <c:v>0.009955503507231643</c:v>
                </c:pt>
                <c:pt idx="6">
                  <c:v>0.0059644668996385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6617530554310987</c:v>
                </c:pt>
                <c:pt idx="4">
                  <c:v>0.009937736281752065</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89649452241687</c:v>
                </c:pt>
                <c:pt idx="4">
                  <c:v>0.007066105412969957</c:v>
                </c:pt>
                <c:pt idx="6">
                  <c:v>0.00304904753985766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445686793730159</c:v>
                </c:pt>
                <c:pt idx="4">
                  <c:v>0.0014969584086391456</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431160627284236</c:v>
                </c:pt>
                <c:pt idx="4">
                  <c:v>0.0009157419874287814</c:v>
                </c:pt>
                <c:pt idx="6">
                  <c:v>0.0012950437831996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326320614344395</c:v>
                </c:pt>
                <c:pt idx="4">
                  <c:v>0.0005152811851606663</c:v>
                </c:pt>
                <c:pt idx="6">
                  <c:v>0.001293245846934711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27987369918258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161093211369769</c:v>
                </c:pt>
                <c:pt idx="4">
                  <c:v>0.010432819606717656</c:v>
                </c:pt>
                <c:pt idx="5">
                  <c:v>0.007850626157050703</c:v>
                </c:pt>
                <c:pt idx="6">
                  <c:v>0.0111625259453390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9703541868656043</c:v>
                </c:pt>
                <c:pt idx="4">
                  <c:v>0.0012806985823580518</c:v>
                </c:pt>
                <c:pt idx="5">
                  <c:v>0.000558422268237764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48059732607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8253430425111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990928512807237</c:v>
                </c:pt>
                <c:pt idx="3">
                  <c:v>0.04284660947542722</c:v>
                </c:pt>
                <c:pt idx="4">
                  <c:v>0.007399391986065902</c:v>
                </c:pt>
                <c:pt idx="5">
                  <c:v>0.0016426667554118326</c:v>
                </c:pt>
                <c:pt idx="6">
                  <c:v>0.017165812772157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864704863830685</c:v>
                </c:pt>
                <c:pt idx="6">
                  <c:v>0.00368035962333342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9919816044278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89399464694986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1892289075792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739110058994529</c:v>
                </c:pt>
                <c:pt idx="3">
                  <c:v>0.0005063275335957369</c:v>
                </c:pt>
                <c:pt idx="4">
                  <c:v>0.00117191531688576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69541783450998</c:v>
                </c:pt>
                <c:pt idx="1">
                  <c:v>0.0025745601853596235</c:v>
                </c:pt>
                <c:pt idx="2">
                  <c:v>0.003838872258043006</c:v>
                </c:pt>
                <c:pt idx="3">
                  <c:v>0.0065795485531335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6645763428569546</c:v>
                </c:pt>
                <c:pt idx="1">
                  <c:v>0.12315911461467965</c:v>
                </c:pt>
                <c:pt idx="2">
                  <c:v>0.026394262595811978</c:v>
                </c:pt>
                <c:pt idx="3">
                  <c:v>0.04170059642321119</c:v>
                </c:pt>
                <c:pt idx="4">
                  <c:v>0.007006119117180325</c:v>
                </c:pt>
                <c:pt idx="5">
                  <c:v>0.0021558818602196027</c:v>
                </c:pt>
                <c:pt idx="6">
                  <c:v>0.002099753079683174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492171530345138</c:v>
                </c:pt>
                <c:pt idx="1">
                  <c:v>0.08126357518184163</c:v>
                </c:pt>
                <c:pt idx="2">
                  <c:v>0.0016198390333431267</c:v>
                </c:pt>
                <c:pt idx="3">
                  <c:v>0.00085940168288209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301464028671254</c:v>
                </c:pt>
                <c:pt idx="1">
                  <c:v>0.04126410170266737</c:v>
                </c:pt>
                <c:pt idx="2">
                  <c:v>0.02455370032815051</c:v>
                </c:pt>
                <c:pt idx="3">
                  <c:v>0.00274791701348362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855540387940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762628162180999</c:v>
                </c:pt>
                <c:pt idx="1">
                  <c:v>0.01007452128151302</c:v>
                </c:pt>
                <c:pt idx="2">
                  <c:v>0.0009764985615166986</c:v>
                </c:pt>
                <c:pt idx="3">
                  <c:v>0.0059484005477930665</c:v>
                </c:pt>
                <c:pt idx="4">
                  <c:v>0.001249446738485329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393471530751234</c:v>
                </c:pt>
                <c:pt idx="1">
                  <c:v>0.0012430309911261195</c:v>
                </c:pt>
                <c:pt idx="3">
                  <c:v>0.001629995257987699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834538604963007</c:v>
                </c:pt>
                <c:pt idx="1">
                  <c:v>0.00106033378041670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67159861545471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691073299692082</c:v>
                </c:pt>
                <c:pt idx="6">
                  <c:v>0.0011951865149383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634936048101665</c:v>
                </c:pt>
                <c:pt idx="1">
                  <c:v>0.19470830245296</c:v>
                </c:pt>
                <c:pt idx="2">
                  <c:v>0.03799840246175407</c:v>
                </c:pt>
                <c:pt idx="3">
                  <c:v>0.2642198946810881</c:v>
                </c:pt>
                <c:pt idx="4">
                  <c:v>0.1527909843893449</c:v>
                </c:pt>
                <c:pt idx="5">
                  <c:v>0.018381111293109247</c:v>
                </c:pt>
                <c:pt idx="6">
                  <c:v>0.0840866478437221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46153580001728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976271034793831</c:v>
                </c:pt>
                <c:pt idx="6">
                  <c:v>0.00128592131685925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14835987715352</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517432645016517</c:v>
                </c:pt>
                <c:pt idx="4">
                  <c:v>0.0006784457039879892</c:v>
                </c:pt>
                <c:pt idx="6">
                  <c:v>0.00199978167720556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6517432645016517</c:v>
                </c:pt>
                <c:pt idx="6">
                  <c:v>0.00199853629286084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703693861182683</c:v>
                </c:pt>
                <c:pt idx="4">
                  <c:v>0.03160537208273034</c:v>
                </c:pt>
                <c:pt idx="5">
                  <c:v>0.002934773725298629</c:v>
                </c:pt>
                <c:pt idx="6">
                  <c:v>0.00594412613651006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76871301591672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607887657487148</c:v>
                </c:pt>
                <c:pt idx="3">
                  <c:v>0.04837554402082686</c:v>
                </c:pt>
                <c:pt idx="4">
                  <c:v>0.12262810372529044</c:v>
                </c:pt>
                <c:pt idx="5">
                  <c:v>0.2195700507965970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073207936125635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8102326808575692</c:v>
                </c:pt>
                <c:pt idx="3">
                  <c:v>0.0391691856213148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0648334468520777</c:v>
                </c:pt>
                <c:pt idx="3">
                  <c:v>0.017484358702281023</c:v>
                </c:pt>
                <c:pt idx="4">
                  <c:v>0.012088902638272933</c:v>
                </c:pt>
                <c:pt idx="5">
                  <c:v>0.1322713503723673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787462225490055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658667067847325</c:v>
                </c:pt>
                <c:pt idx="3">
                  <c:v>0.003810980813723392</c:v>
                </c:pt>
                <c:pt idx="4">
                  <c:v>0.00204321968196073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9313445853834785</c:v>
                </c:pt>
                <c:pt idx="3">
                  <c:v>0.003810980813723392</c:v>
                </c:pt>
                <c:pt idx="4">
                  <c:v>0.002043219681960737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55671138277131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72583186716399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1848336289215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335768983351551</c:v>
                </c:pt>
                <c:pt idx="3">
                  <c:v>0.0012833543223331198</c:v>
                </c:pt>
                <c:pt idx="4">
                  <c:v>0.0010648317203312502</c:v>
                </c:pt>
                <c:pt idx="5">
                  <c:v>0.118967840331981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676911684300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4936976888713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288730080364051</c:v>
                </c:pt>
                <c:pt idx="3">
                  <c:v>0.006361522945187123</c:v>
                </c:pt>
                <c:pt idx="5">
                  <c:v>0.0258062283297111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288730080364051</c:v>
                </c:pt>
                <c:pt idx="3">
                  <c:v>0.006361522945187123</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46355514652707585</c:v>
                </c:pt>
                <c:pt idx="4">
                  <c:v>0.00783353890702913</c:v>
                </c:pt>
                <c:pt idx="5">
                  <c:v>0.00442519059808957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933502736417794</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144800947451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829712622962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26829929615239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154196216617577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241828439885039</c:v>
                </c:pt>
                <c:pt idx="4">
                  <c:v>0.13213436575536114</c:v>
                </c:pt>
                <c:pt idx="5">
                  <c:v>0.01732206786493272</c:v>
                </c:pt>
                <c:pt idx="6">
                  <c:v>0.065927531347874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653326360674325</c:v>
                </c:pt>
                <c:pt idx="5">
                  <c:v>0.00228594244863995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318125285631463</c:v>
                </c:pt>
                <c:pt idx="4">
                  <c:v>0.00088187587039402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934503778720295</c:v>
                </c:pt>
                <c:pt idx="4">
                  <c:v>0.02663993448986078</c:v>
                </c:pt>
                <c:pt idx="5">
                  <c:v>0.00193628550300684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9706521725407592</c:v>
                </c:pt>
                <c:pt idx="4">
                  <c:v>0.08286892610327612</c:v>
                </c:pt>
                <c:pt idx="5">
                  <c:v>0.0040641572851775705</c:v>
                </c:pt>
                <c:pt idx="6">
                  <c:v>0.049942801227729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2185196196158968</c:v>
                </c:pt>
                <c:pt idx="4">
                  <c:v>0.0074217816041207444</c:v>
                </c:pt>
                <c:pt idx="5">
                  <c:v>0.0016855387067375523</c:v>
                </c:pt>
                <c:pt idx="6">
                  <c:v>0.00488327679075763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061583455267404</c:v>
                </c:pt>
                <c:pt idx="4">
                  <c:v>0.017993207589702825</c:v>
                </c:pt>
                <c:pt idx="5">
                  <c:v>0.0008345853013336351</c:v>
                </c:pt>
                <c:pt idx="6">
                  <c:v>0.00143361945724755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675746486348</c:v>
                </c:pt>
                <c:pt idx="4">
                  <c:v>0.01736377604774507</c:v>
                </c:pt>
                <c:pt idx="5">
                  <c:v>0.0008086258363026837</c:v>
                </c:pt>
                <c:pt idx="6">
                  <c:v>0.000898321245641802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5081027880064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50810278800644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129779148175012</c:v>
                </c:pt>
                <c:pt idx="5">
                  <c:v>0.000668973698062417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72009999012054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62895004213028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151024843215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444376578649774</c:v>
                </c:pt>
                <c:pt idx="1">
                  <c:v>0.0031654837559785343</c:v>
                </c:pt>
                <c:pt idx="3">
                  <c:v>0.002550158767171827</c:v>
                </c:pt>
                <c:pt idx="6">
                  <c:v>0.00075132165276051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080445760386795</c:v>
                </c:pt>
                <c:pt idx="1">
                  <c:v>0.034045464200894715</c:v>
                </c:pt>
                <c:pt idx="2">
                  <c:v>0.0036132641452077535</c:v>
                </c:pt>
                <c:pt idx="3">
                  <c:v>0.06493867931236866</c:v>
                </c:pt>
                <c:pt idx="4">
                  <c:v>0.01533674862811337</c:v>
                </c:pt>
                <c:pt idx="5">
                  <c:v>0.0019313663103294148</c:v>
                </c:pt>
                <c:pt idx="6">
                  <c:v>0.00627570949353230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95472304315569</c:v>
                </c:pt>
                <c:pt idx="1">
                  <c:v>0.2612660249758486</c:v>
                </c:pt>
                <c:pt idx="2">
                  <c:v>0.06437946287107497</c:v>
                </c:pt>
                <c:pt idx="3">
                  <c:v>0.20927082498692792</c:v>
                </c:pt>
                <c:pt idx="4">
                  <c:v>0.02991176611434467</c:v>
                </c:pt>
                <c:pt idx="5">
                  <c:v>0.01266161410778612</c:v>
                </c:pt>
                <c:pt idx="6">
                  <c:v>0.0354073738388326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5978306116918745</c:v>
                </c:pt>
                <c:pt idx="1">
                  <c:v>0.011610659437248313</c:v>
                </c:pt>
                <c:pt idx="2">
                  <c:v>0.008976888996987413</c:v>
                </c:pt>
                <c:pt idx="3">
                  <c:v>0.000717252364699575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24781657586923</c:v>
                </c:pt>
                <c:pt idx="1">
                  <c:v>0.013501382933519636</c:v>
                </c:pt>
                <c:pt idx="2">
                  <c:v>0.0011336472703081925</c:v>
                </c:pt>
                <c:pt idx="3">
                  <c:v>0.00058785843159740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012680382756997</c:v>
                </c:pt>
                <c:pt idx="1">
                  <c:v>0.0009245995303342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201266271823326</c:v>
                </c:pt>
                <c:pt idx="4">
                  <c:v>0.0016228347784779035</c:v>
                </c:pt>
                <c:pt idx="5">
                  <c:v>0.0006944339020801837</c:v>
                </c:pt>
                <c:pt idx="6">
                  <c:v>0.0057133803780728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65276660096335</c:v>
                </c:pt>
                <c:pt idx="1">
                  <c:v>0.00363302122926731</c:v>
                </c:pt>
                <c:pt idx="2">
                  <c:v>0.000703325908151189</c:v>
                </c:pt>
                <c:pt idx="3">
                  <c:v>0.006873574846832327</c:v>
                </c:pt>
                <c:pt idx="4">
                  <c:v>0.0062671457783888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359727068466143</c:v>
                </c:pt>
                <c:pt idx="4">
                  <c:v>0.00077127039367763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8845843164303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6476015247063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958926946718405</c:v>
                </c:pt>
                <c:pt idx="4">
                  <c:v>0.01959176876387183</c:v>
                </c:pt>
                <c:pt idx="5">
                  <c:v>0.0007193684997808495</c:v>
                </c:pt>
                <c:pt idx="6">
                  <c:v>0.0120128814703488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958926946718405</c:v>
                </c:pt>
                <c:pt idx="4">
                  <c:v>0.01955146058877139</c:v>
                </c:pt>
                <c:pt idx="5">
                  <c:v>0.000613660312101023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161352181720513</c:v>
                </c:pt>
                <c:pt idx="4">
                  <c:v>0.01479798842438213</c:v>
                </c:pt>
                <c:pt idx="5">
                  <c:v>0.0006963295201984652</c:v>
                </c:pt>
                <c:pt idx="6">
                  <c:v>0.00530400557508503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07937499177663</c:v>
                </c:pt>
                <c:pt idx="4">
                  <c:v>0.00250870490996729</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685381958807617</c:v>
                </c:pt>
                <c:pt idx="4">
                  <c:v>0.003654862809815782</c:v>
                </c:pt>
                <c:pt idx="5">
                  <c:v>0.00076019932008969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447533364835029</c:v>
                </c:pt>
                <c:pt idx="4">
                  <c:v>0.0036054573225430524</c:v>
                </c:pt>
                <c:pt idx="5">
                  <c:v>0.000760199320089692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7266843158295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72668431582951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723373823886665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1547485892510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004660361686232</c:v>
                </c:pt>
                <c:pt idx="3">
                  <c:v>0.03898267253860994</c:v>
                </c:pt>
                <c:pt idx="4">
                  <c:v>0.0683007308341002</c:v>
                </c:pt>
                <c:pt idx="5">
                  <c:v>0.011028273995328007</c:v>
                </c:pt>
                <c:pt idx="6">
                  <c:v>0.0434106044678380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03472343812779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817125565622242</c:v>
                </c:pt>
                <c:pt idx="4">
                  <c:v>0.023074635447974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118226190052804</c:v>
                </c:pt>
                <c:pt idx="3">
                  <c:v>0.0655274509333968</c:v>
                </c:pt>
                <c:pt idx="4">
                  <c:v>0.037613772151909336</c:v>
                </c:pt>
                <c:pt idx="5">
                  <c:v>0.004542024975548391</c:v>
                </c:pt>
                <c:pt idx="6">
                  <c:v>0.0332058150828603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5457411727770247</c:v>
                </c:pt>
                <c:pt idx="5">
                  <c:v>0.001642624318752148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20011293874222</c:v>
                </c:pt>
                <c:pt idx="4">
                  <c:v>0.007505238812093468</c:v>
                </c:pt>
                <c:pt idx="6">
                  <c:v>0.000693715877711567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85340093679934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879130247426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9941861981618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13556116870034</c:v>
                </c:pt>
                <c:pt idx="1">
                  <c:v>0.000979934826358286</c:v>
                </c:pt>
                <c:pt idx="2">
                  <c:v>0.0009495574375382925</c:v>
                </c:pt>
                <c:pt idx="3">
                  <c:v>0.0061123084375114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06859749560903</c:v>
                </c:pt>
                <c:pt idx="1">
                  <c:v>0.09950297928603674</c:v>
                </c:pt>
                <c:pt idx="2">
                  <c:v>0.021326559468824214</c:v>
                </c:pt>
                <c:pt idx="3">
                  <c:v>0.04864064496037529</c:v>
                </c:pt>
                <c:pt idx="4">
                  <c:v>0.00796247494033846</c:v>
                </c:pt>
                <c:pt idx="5">
                  <c:v>0.00276232276616328</c:v>
                </c:pt>
                <c:pt idx="6">
                  <c:v>0.00940411746613885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2939801769624523</c:v>
                </c:pt>
                <c:pt idx="1">
                  <c:v>0.047333613698353136</c:v>
                </c:pt>
                <c:pt idx="2">
                  <c:v>0.00123751992236763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649090573104395</c:v>
                </c:pt>
                <c:pt idx="1">
                  <c:v>0.051815470780811085</c:v>
                </c:pt>
                <c:pt idx="2">
                  <c:v>0.01594215709113453</c:v>
                </c:pt>
                <c:pt idx="3">
                  <c:v>0.00204688213417393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99770776906813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31189182274407</c:v>
                </c:pt>
                <c:pt idx="1">
                  <c:v>0.006896676459028559</c:v>
                </c:pt>
                <c:pt idx="2">
                  <c:v>0.0005509926467823818</c:v>
                </c:pt>
                <c:pt idx="3">
                  <c:v>0.005173668519806229</c:v>
                </c:pt>
                <c:pt idx="4">
                  <c:v>0.0032591965878144944</c:v>
                </c:pt>
                <c:pt idx="5">
                  <c:v>0.00127294574098991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28755046155319</c:v>
                </c:pt>
                <c:pt idx="1">
                  <c:v>0.0010146510037460652</c:v>
                </c:pt>
                <c:pt idx="3">
                  <c:v>0.0007151970749012828</c:v>
                </c:pt>
                <c:pt idx="4">
                  <c:v>0.000703762363058966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03454241970187</c:v>
                </c:pt>
                <c:pt idx="1">
                  <c:v>0.000562832308963888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8946456580201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2901108669346153</c:v>
                </c:pt>
                <c:pt idx="6">
                  <c:v>0.0059065435354809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675883902974763</c:v>
                </c:pt>
                <c:pt idx="4">
                  <c:v>0.007811215718171283</c:v>
                </c:pt>
                <c:pt idx="6">
                  <c:v>0.002805866420781994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038506398120113</c:v>
                </c:pt>
                <c:pt idx="4">
                  <c:v>0.0030163437612102514</c:v>
                </c:pt>
                <c:pt idx="6">
                  <c:v>0.00123451042730458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09084141871889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6">
                  <c:v>0.000824346268188335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4395012621992636</c:v>
                </c:pt>
                <c:pt idx="4">
                  <c:v>0.06732843068618344</c:v>
                </c:pt>
                <c:pt idx="5">
                  <c:v>0.010452326344932612</c:v>
                </c:pt>
                <c:pt idx="6">
                  <c:v>0.035927702047731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5936010900310765</c:v>
                </c:pt>
                <c:pt idx="5">
                  <c:v>0.51802146363605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4378468336454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159071004658415</c:v>
                </c:pt>
                <c:pt idx="4">
                  <c:v>0.006012601386635709</c:v>
                </c:pt>
                <c:pt idx="5">
                  <c:v>0.00058312967856626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607205781942899</c:v>
                </c:pt>
                <c:pt idx="3">
                  <c:v>0.07258751816421834</c:v>
                </c:pt>
                <c:pt idx="4">
                  <c:v>0.03552463927982457</c:v>
                </c:pt>
                <c:pt idx="5">
                  <c:v>0.0020458479143510492</c:v>
                </c:pt>
                <c:pt idx="6">
                  <c:v>0.0320139209163047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9890489262960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0245063770946134</c:v>
                </c:pt>
                <c:pt idx="4">
                  <c:v>0.007007337785007434</c:v>
                </c:pt>
                <c:pt idx="6">
                  <c:v>0.000728958025502789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2007466574753</c:v>
                </c:pt>
                <c:pt idx="3">
                  <c:v>0.010451376111653789</c:v>
                </c:pt>
                <c:pt idx="4">
                  <c:v>0.056827098905864515</c:v>
                </c:pt>
                <c:pt idx="5">
                  <c:v>0.0082831798652513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2217076632689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9407507246507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6116471109371147</c:v>
                </c:pt>
                <c:pt idx="4">
                  <c:v>0.00062244156572642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073994047673462</c:v>
                </c:pt>
                <c:pt idx="1">
                  <c:v>0.002302810392097572</c:v>
                </c:pt>
                <c:pt idx="2">
                  <c:v>0.0012653995581036325</c:v>
                </c:pt>
                <c:pt idx="3">
                  <c:v>0.0058787141363871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977726176470597</c:v>
                </c:pt>
                <c:pt idx="1">
                  <c:v>0.09272115227662658</c:v>
                </c:pt>
                <c:pt idx="2">
                  <c:v>0.01591807565452656</c:v>
                </c:pt>
                <c:pt idx="3">
                  <c:v>0.05096606738742252</c:v>
                </c:pt>
                <c:pt idx="4">
                  <c:v>0.011112999534204167</c:v>
                </c:pt>
                <c:pt idx="5">
                  <c:v>0.0017278374011150542</c:v>
                </c:pt>
                <c:pt idx="6">
                  <c:v>0.00393095700107925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224390871811716</c:v>
                </c:pt>
                <c:pt idx="1">
                  <c:v>0.0552666188302981</c:v>
                </c:pt>
                <c:pt idx="2">
                  <c:v>0.00142577552657276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056980596781785</c:v>
                </c:pt>
                <c:pt idx="1">
                  <c:v>0.035376044567647494</c:v>
                </c:pt>
                <c:pt idx="2">
                  <c:v>0.014084415329312514</c:v>
                </c:pt>
                <c:pt idx="3">
                  <c:v>0.001691521716811664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7209370574336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09102724743606</c:v>
                </c:pt>
                <c:pt idx="1">
                  <c:v>0.006679687233131407</c:v>
                </c:pt>
                <c:pt idx="2">
                  <c:v>0.0013335234811846642</c:v>
                </c:pt>
                <c:pt idx="3">
                  <c:v>0.0053668233913012064</c:v>
                </c:pt>
                <c:pt idx="4">
                  <c:v>0.003176466886033879</c:v>
                </c:pt>
                <c:pt idx="5">
                  <c:v>0.00111520912385371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956265841326384</c:v>
                </c:pt>
                <c:pt idx="1">
                  <c:v>0.0009662384112823264</c:v>
                </c:pt>
                <c:pt idx="3">
                  <c:v>0.00104110942275133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404317499459507</c:v>
                </c:pt>
                <c:pt idx="1">
                  <c:v>0.000601810354361829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452120240396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7898755920737007</c:v>
                </c:pt>
                <c:pt idx="4">
                  <c:v>0.009955503507231643</c:v>
                </c:pt>
                <c:pt idx="6">
                  <c:v>0.00596446689963854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89649452241687</c:v>
                </c:pt>
                <c:pt idx="4">
                  <c:v>0.007066105412969957</c:v>
                </c:pt>
                <c:pt idx="6">
                  <c:v>0.00304904753985766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431160627284236</c:v>
                </c:pt>
                <c:pt idx="4">
                  <c:v>0.0009157419874287814</c:v>
                </c:pt>
                <c:pt idx="6">
                  <c:v>0.0012950437831996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27987369918258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161093211369769</c:v>
                </c:pt>
                <c:pt idx="4">
                  <c:v>0.010432819606717656</c:v>
                </c:pt>
                <c:pt idx="5">
                  <c:v>0.007850626157050703</c:v>
                </c:pt>
                <c:pt idx="6">
                  <c:v>0.0111625259453390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48059732607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48253430425111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990928512807237</c:v>
                </c:pt>
                <c:pt idx="3">
                  <c:v>0.04284660947542722</c:v>
                </c:pt>
                <c:pt idx="4">
                  <c:v>0.007399391986065902</c:v>
                </c:pt>
                <c:pt idx="5">
                  <c:v>0.0016426667554118326</c:v>
                </c:pt>
                <c:pt idx="6">
                  <c:v>0.017165812772157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9919816044278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1892289075792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739110058994529</c:v>
                </c:pt>
                <c:pt idx="3">
                  <c:v>0.0005063275335957369</c:v>
                </c:pt>
                <c:pt idx="4">
                  <c:v>0.00117191531688576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69541783450998</c:v>
                </c:pt>
                <c:pt idx="1">
                  <c:v>0.0025745601853596235</c:v>
                </c:pt>
                <c:pt idx="2">
                  <c:v>0.003838872258043006</c:v>
                </c:pt>
                <c:pt idx="3">
                  <c:v>0.0065795485531335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6645763428569546</c:v>
                </c:pt>
                <c:pt idx="1">
                  <c:v>0.12315911461467965</c:v>
                </c:pt>
                <c:pt idx="2">
                  <c:v>0.026394262595811978</c:v>
                </c:pt>
                <c:pt idx="3">
                  <c:v>0.04170059642321119</c:v>
                </c:pt>
                <c:pt idx="4">
                  <c:v>0.007006119117180325</c:v>
                </c:pt>
                <c:pt idx="5">
                  <c:v>0.0021558818602196027</c:v>
                </c:pt>
                <c:pt idx="6">
                  <c:v>0.002099753079683174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492171530345138</c:v>
                </c:pt>
                <c:pt idx="1">
                  <c:v>0.08126357518184163</c:v>
                </c:pt>
                <c:pt idx="2">
                  <c:v>0.0016198390333431267</c:v>
                </c:pt>
                <c:pt idx="3">
                  <c:v>0.00085940168288209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301464028671254</c:v>
                </c:pt>
                <c:pt idx="1">
                  <c:v>0.04126410170266737</c:v>
                </c:pt>
                <c:pt idx="2">
                  <c:v>0.02455370032815051</c:v>
                </c:pt>
                <c:pt idx="3">
                  <c:v>0.00274791701348362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855540387940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762628162180999</c:v>
                </c:pt>
                <c:pt idx="1">
                  <c:v>0.01007452128151302</c:v>
                </c:pt>
                <c:pt idx="2">
                  <c:v>0.0009764985615166986</c:v>
                </c:pt>
                <c:pt idx="3">
                  <c:v>0.0059484005477930665</c:v>
                </c:pt>
                <c:pt idx="4">
                  <c:v>0.001249446738485329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0.xml"/><Relationship Id="rId7" Type="http://schemas.openxmlformats.org/officeDocument/2006/relationships/chart" Target="../charts/chart1091.xml"/><Relationship Id="rId8" Type="http://schemas.openxmlformats.org/officeDocument/2006/relationships/chart" Target="../charts/chart1092.xml"/><Relationship Id="rId9" Type="http://schemas.openxmlformats.org/officeDocument/2006/relationships/chart" Target="../charts/chart1093.xml"/><Relationship Id="rId10" Type="http://schemas.openxmlformats.org/officeDocument/2006/relationships/chart" Target="../charts/chart1094.xml"/><Relationship Id="rId11" Type="http://schemas.openxmlformats.org/officeDocument/2006/relationships/chart" Target="../charts/chart1095.xml"/><Relationship Id="rId12" Type="http://schemas.openxmlformats.org/officeDocument/2006/relationships/chart" Target="../charts/chart1096.xml"/><Relationship Id="rId13" Type="http://schemas.openxmlformats.org/officeDocument/2006/relationships/chart" Target="../charts/chart1097.xml"/><Relationship Id="rId14" Type="http://schemas.openxmlformats.org/officeDocument/2006/relationships/chart" Target="../charts/chart1098.xml"/><Relationship Id="rId15" Type="http://schemas.openxmlformats.org/officeDocument/2006/relationships/chart" Target="../charts/chart1099.xml"/><Relationship Id="rId16" Type="http://schemas.openxmlformats.org/officeDocument/2006/relationships/chart" Target="../charts/chart1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1.xml"/><Relationship Id="rId7" Type="http://schemas.openxmlformats.org/officeDocument/2006/relationships/chart" Target="../charts/chart1102.xml"/><Relationship Id="rId8" Type="http://schemas.openxmlformats.org/officeDocument/2006/relationships/chart" Target="../charts/chart1103.xml"/><Relationship Id="rId9" Type="http://schemas.openxmlformats.org/officeDocument/2006/relationships/chart" Target="../charts/chart1104.xml"/><Relationship Id="rId10" Type="http://schemas.openxmlformats.org/officeDocument/2006/relationships/chart" Target="../charts/chart1105.xml"/><Relationship Id="rId11" Type="http://schemas.openxmlformats.org/officeDocument/2006/relationships/chart" Target="../charts/chart1106.xml"/><Relationship Id="rId12" Type="http://schemas.openxmlformats.org/officeDocument/2006/relationships/chart" Target="../charts/chart1107.xml"/><Relationship Id="rId13" Type="http://schemas.openxmlformats.org/officeDocument/2006/relationships/chart" Target="../charts/chart1108.xml"/><Relationship Id="rId14" Type="http://schemas.openxmlformats.org/officeDocument/2006/relationships/chart" Target="../charts/chart1109.xml"/><Relationship Id="rId15" Type="http://schemas.openxmlformats.org/officeDocument/2006/relationships/chart" Target="../charts/chart1110.xml"/><Relationship Id="rId16" Type="http://schemas.openxmlformats.org/officeDocument/2006/relationships/chart" Target="../charts/chart111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2.xml"/><Relationship Id="rId7" Type="http://schemas.openxmlformats.org/officeDocument/2006/relationships/chart" Target="../charts/chart1113.xml"/><Relationship Id="rId8" Type="http://schemas.openxmlformats.org/officeDocument/2006/relationships/chart" Target="../charts/chart1114.xml"/><Relationship Id="rId9" Type="http://schemas.openxmlformats.org/officeDocument/2006/relationships/chart" Target="../charts/chart1115.xml"/><Relationship Id="rId10" Type="http://schemas.openxmlformats.org/officeDocument/2006/relationships/chart" Target="../charts/chart1116.xml"/><Relationship Id="rId11" Type="http://schemas.openxmlformats.org/officeDocument/2006/relationships/chart" Target="../charts/chart1117.xml"/><Relationship Id="rId12" Type="http://schemas.openxmlformats.org/officeDocument/2006/relationships/chart" Target="../charts/chart1118.xml"/><Relationship Id="rId13" Type="http://schemas.openxmlformats.org/officeDocument/2006/relationships/chart" Target="../charts/chart1119.xml"/><Relationship Id="rId14" Type="http://schemas.openxmlformats.org/officeDocument/2006/relationships/chart" Target="../charts/chart1120.xml"/><Relationship Id="rId15" Type="http://schemas.openxmlformats.org/officeDocument/2006/relationships/chart" Target="../charts/chart1121.xml"/><Relationship Id="rId16" Type="http://schemas.openxmlformats.org/officeDocument/2006/relationships/chart" Target="../charts/chart112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3.xml"/><Relationship Id="rId7" Type="http://schemas.openxmlformats.org/officeDocument/2006/relationships/chart" Target="../charts/chart1124.xml"/><Relationship Id="rId8" Type="http://schemas.openxmlformats.org/officeDocument/2006/relationships/chart" Target="../charts/chart1125.xml"/><Relationship Id="rId9" Type="http://schemas.openxmlformats.org/officeDocument/2006/relationships/chart" Target="../charts/chart1126.xml"/><Relationship Id="rId10" Type="http://schemas.openxmlformats.org/officeDocument/2006/relationships/chart" Target="../charts/chart1127.xml"/><Relationship Id="rId11" Type="http://schemas.openxmlformats.org/officeDocument/2006/relationships/chart" Target="../charts/chart1128.xml"/><Relationship Id="rId12" Type="http://schemas.openxmlformats.org/officeDocument/2006/relationships/chart" Target="../charts/chart1129.xml"/><Relationship Id="rId13" Type="http://schemas.openxmlformats.org/officeDocument/2006/relationships/chart" Target="../charts/chart1130.xml"/><Relationship Id="rId14" Type="http://schemas.openxmlformats.org/officeDocument/2006/relationships/chart" Target="../charts/chart1131.xml"/><Relationship Id="rId15" Type="http://schemas.openxmlformats.org/officeDocument/2006/relationships/chart" Target="../charts/chart1132.xml"/><Relationship Id="rId16" Type="http://schemas.openxmlformats.org/officeDocument/2006/relationships/chart" Target="../charts/chart113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4.xml"/><Relationship Id="rId7" Type="http://schemas.openxmlformats.org/officeDocument/2006/relationships/chart" Target="../charts/chart1135.xml"/><Relationship Id="rId8" Type="http://schemas.openxmlformats.org/officeDocument/2006/relationships/chart" Target="../charts/chart1136.xml"/><Relationship Id="rId9" Type="http://schemas.openxmlformats.org/officeDocument/2006/relationships/chart" Target="../charts/chart1137.xml"/><Relationship Id="rId10" Type="http://schemas.openxmlformats.org/officeDocument/2006/relationships/chart" Target="../charts/chart1138.xml"/><Relationship Id="rId11" Type="http://schemas.openxmlformats.org/officeDocument/2006/relationships/chart" Target="../charts/chart1139.xml"/><Relationship Id="rId12" Type="http://schemas.openxmlformats.org/officeDocument/2006/relationships/chart" Target="../charts/chart1140.xml"/><Relationship Id="rId13" Type="http://schemas.openxmlformats.org/officeDocument/2006/relationships/chart" Target="../charts/chart1141.xml"/><Relationship Id="rId14" Type="http://schemas.openxmlformats.org/officeDocument/2006/relationships/chart" Target="../charts/chart1142.xml"/><Relationship Id="rId15" Type="http://schemas.openxmlformats.org/officeDocument/2006/relationships/chart" Target="../charts/chart1143.xml"/><Relationship Id="rId16" Type="http://schemas.openxmlformats.org/officeDocument/2006/relationships/chart" Target="../charts/chart114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5.xml"/><Relationship Id="rId7" Type="http://schemas.openxmlformats.org/officeDocument/2006/relationships/chart" Target="../charts/chart1146.xml"/><Relationship Id="rId8" Type="http://schemas.openxmlformats.org/officeDocument/2006/relationships/chart" Target="../charts/chart1147.xml"/><Relationship Id="rId9" Type="http://schemas.openxmlformats.org/officeDocument/2006/relationships/chart" Target="../charts/chart1148.xml"/><Relationship Id="rId10" Type="http://schemas.openxmlformats.org/officeDocument/2006/relationships/chart" Target="../charts/chart1149.xml"/><Relationship Id="rId11" Type="http://schemas.openxmlformats.org/officeDocument/2006/relationships/chart" Target="../charts/chart1150.xml"/><Relationship Id="rId12" Type="http://schemas.openxmlformats.org/officeDocument/2006/relationships/chart" Target="../charts/chart1151.xml"/><Relationship Id="rId13" Type="http://schemas.openxmlformats.org/officeDocument/2006/relationships/chart" Target="../charts/chart1152.xml"/><Relationship Id="rId14" Type="http://schemas.openxmlformats.org/officeDocument/2006/relationships/chart" Target="../charts/chart1153.xml"/><Relationship Id="rId15" Type="http://schemas.openxmlformats.org/officeDocument/2006/relationships/chart" Target="../charts/chart1154.xml"/><Relationship Id="rId16" Type="http://schemas.openxmlformats.org/officeDocument/2006/relationships/chart" Target="../charts/chart1155.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 Id="rId7" Type="http://schemas.openxmlformats.org/officeDocument/2006/relationships/chart" Target="../charts/chart299.xml"/><Relationship Id="rId8" Type="http://schemas.openxmlformats.org/officeDocument/2006/relationships/chart" Target="../charts/chart300.xml"/><Relationship Id="rId9" Type="http://schemas.openxmlformats.org/officeDocument/2006/relationships/chart" Target="../charts/chart301.xml"/><Relationship Id="rId10" Type="http://schemas.openxmlformats.org/officeDocument/2006/relationships/chart" Target="../charts/chart302.xml"/><Relationship Id="rId11" Type="http://schemas.openxmlformats.org/officeDocument/2006/relationships/chart" Target="../charts/chart303.xml"/><Relationship Id="rId12" Type="http://schemas.openxmlformats.org/officeDocument/2006/relationships/chart" Target="../charts/chart304.xml"/><Relationship Id="rId13" Type="http://schemas.openxmlformats.org/officeDocument/2006/relationships/chart" Target="../charts/chart305.xml"/><Relationship Id="rId14" Type="http://schemas.openxmlformats.org/officeDocument/2006/relationships/chart" Target="../charts/chart306.xml"/><Relationship Id="rId15" Type="http://schemas.openxmlformats.org/officeDocument/2006/relationships/chart" Target="../charts/chart307.xml"/><Relationship Id="rId16" Type="http://schemas.openxmlformats.org/officeDocument/2006/relationships/chart" Target="../charts/chart30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 Id="rId8" Type="http://schemas.openxmlformats.org/officeDocument/2006/relationships/chart" Target="../charts/chart311.xml"/><Relationship Id="rId9" Type="http://schemas.openxmlformats.org/officeDocument/2006/relationships/chart" Target="../charts/chart312.xml"/><Relationship Id="rId10" Type="http://schemas.openxmlformats.org/officeDocument/2006/relationships/chart" Target="../charts/chart313.xml"/><Relationship Id="rId11" Type="http://schemas.openxmlformats.org/officeDocument/2006/relationships/chart" Target="../charts/chart314.xml"/><Relationship Id="rId12" Type="http://schemas.openxmlformats.org/officeDocument/2006/relationships/chart" Target="../charts/chart315.xml"/><Relationship Id="rId13" Type="http://schemas.openxmlformats.org/officeDocument/2006/relationships/chart" Target="../charts/chart316.xml"/><Relationship Id="rId14" Type="http://schemas.openxmlformats.org/officeDocument/2006/relationships/chart" Target="../charts/chart317.xml"/><Relationship Id="rId15" Type="http://schemas.openxmlformats.org/officeDocument/2006/relationships/chart" Target="../charts/chart318.xml"/><Relationship Id="rId16" Type="http://schemas.openxmlformats.org/officeDocument/2006/relationships/chart" Target="../charts/chart31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 Id="rId7" Type="http://schemas.openxmlformats.org/officeDocument/2006/relationships/chart" Target="../charts/chart321.xml"/><Relationship Id="rId8" Type="http://schemas.openxmlformats.org/officeDocument/2006/relationships/chart" Target="../charts/chart322.xml"/><Relationship Id="rId9" Type="http://schemas.openxmlformats.org/officeDocument/2006/relationships/chart" Target="../charts/chart323.xml"/><Relationship Id="rId10" Type="http://schemas.openxmlformats.org/officeDocument/2006/relationships/chart" Target="../charts/chart324.xml"/><Relationship Id="rId11" Type="http://schemas.openxmlformats.org/officeDocument/2006/relationships/chart" Target="../charts/chart325.xml"/><Relationship Id="rId12" Type="http://schemas.openxmlformats.org/officeDocument/2006/relationships/chart" Target="../charts/chart326.xml"/><Relationship Id="rId13" Type="http://schemas.openxmlformats.org/officeDocument/2006/relationships/chart" Target="../charts/chart327.xml"/><Relationship Id="rId14" Type="http://schemas.openxmlformats.org/officeDocument/2006/relationships/chart" Target="../charts/chart328.xml"/><Relationship Id="rId15" Type="http://schemas.openxmlformats.org/officeDocument/2006/relationships/chart" Target="../charts/chart329.xml"/><Relationship Id="rId16" Type="http://schemas.openxmlformats.org/officeDocument/2006/relationships/chart" Target="../charts/chart3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 Id="rId8" Type="http://schemas.openxmlformats.org/officeDocument/2006/relationships/chart" Target="../charts/chart333.xml"/><Relationship Id="rId9" Type="http://schemas.openxmlformats.org/officeDocument/2006/relationships/chart" Target="../charts/chart334.xml"/><Relationship Id="rId10" Type="http://schemas.openxmlformats.org/officeDocument/2006/relationships/chart" Target="../charts/chart335.xml"/><Relationship Id="rId11" Type="http://schemas.openxmlformats.org/officeDocument/2006/relationships/chart" Target="../charts/chart336.xml"/><Relationship Id="rId12" Type="http://schemas.openxmlformats.org/officeDocument/2006/relationships/chart" Target="../charts/chart337.xml"/><Relationship Id="rId13" Type="http://schemas.openxmlformats.org/officeDocument/2006/relationships/chart" Target="../charts/chart338.xml"/><Relationship Id="rId14" Type="http://schemas.openxmlformats.org/officeDocument/2006/relationships/chart" Target="../charts/chart339.xml"/><Relationship Id="rId15" Type="http://schemas.openxmlformats.org/officeDocument/2006/relationships/chart" Target="../charts/chart340.xml"/><Relationship Id="rId16" Type="http://schemas.openxmlformats.org/officeDocument/2006/relationships/chart" Target="../charts/chart34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 Id="rId7" Type="http://schemas.openxmlformats.org/officeDocument/2006/relationships/chart" Target="../charts/chart343.xml"/><Relationship Id="rId8" Type="http://schemas.openxmlformats.org/officeDocument/2006/relationships/chart" Target="../charts/chart344.xml"/><Relationship Id="rId9" Type="http://schemas.openxmlformats.org/officeDocument/2006/relationships/chart" Target="../charts/chart345.xml"/><Relationship Id="rId10" Type="http://schemas.openxmlformats.org/officeDocument/2006/relationships/chart" Target="../charts/chart346.xml"/><Relationship Id="rId11" Type="http://schemas.openxmlformats.org/officeDocument/2006/relationships/chart" Target="../charts/chart347.xml"/><Relationship Id="rId12" Type="http://schemas.openxmlformats.org/officeDocument/2006/relationships/chart" Target="../charts/chart348.xml"/><Relationship Id="rId13" Type="http://schemas.openxmlformats.org/officeDocument/2006/relationships/chart" Target="../charts/chart349.xml"/><Relationship Id="rId14" Type="http://schemas.openxmlformats.org/officeDocument/2006/relationships/chart" Target="../charts/chart350.xml"/><Relationship Id="rId15" Type="http://schemas.openxmlformats.org/officeDocument/2006/relationships/chart" Target="../charts/chart351.xml"/><Relationship Id="rId16" Type="http://schemas.openxmlformats.org/officeDocument/2006/relationships/chart" Target="../charts/chart35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 Id="rId14" Type="http://schemas.openxmlformats.org/officeDocument/2006/relationships/chart" Target="../charts/chart361.xml"/><Relationship Id="rId15" Type="http://schemas.openxmlformats.org/officeDocument/2006/relationships/chart" Target="../charts/chart362.xml"/><Relationship Id="rId16" Type="http://schemas.openxmlformats.org/officeDocument/2006/relationships/chart" Target="../charts/chart36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 Id="rId7" Type="http://schemas.openxmlformats.org/officeDocument/2006/relationships/chart" Target="../charts/chart365.xml"/><Relationship Id="rId8" Type="http://schemas.openxmlformats.org/officeDocument/2006/relationships/chart" Target="../charts/chart366.xml"/><Relationship Id="rId9" Type="http://schemas.openxmlformats.org/officeDocument/2006/relationships/chart" Target="../charts/chart367.xml"/><Relationship Id="rId10" Type="http://schemas.openxmlformats.org/officeDocument/2006/relationships/chart" Target="../charts/chart368.xml"/><Relationship Id="rId11" Type="http://schemas.openxmlformats.org/officeDocument/2006/relationships/chart" Target="../charts/chart369.xml"/><Relationship Id="rId12" Type="http://schemas.openxmlformats.org/officeDocument/2006/relationships/chart" Target="../charts/chart370.xml"/><Relationship Id="rId13" Type="http://schemas.openxmlformats.org/officeDocument/2006/relationships/chart" Target="../charts/chart371.xml"/><Relationship Id="rId14" Type="http://schemas.openxmlformats.org/officeDocument/2006/relationships/chart" Target="../charts/chart372.xml"/><Relationship Id="rId15" Type="http://schemas.openxmlformats.org/officeDocument/2006/relationships/chart" Target="../charts/chart373.xml"/><Relationship Id="rId16" Type="http://schemas.openxmlformats.org/officeDocument/2006/relationships/chart" Target="../charts/chart37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 Id="rId8" Type="http://schemas.openxmlformats.org/officeDocument/2006/relationships/chart" Target="../charts/chart377.xml"/><Relationship Id="rId9" Type="http://schemas.openxmlformats.org/officeDocument/2006/relationships/chart" Target="../charts/chart378.xml"/><Relationship Id="rId10" Type="http://schemas.openxmlformats.org/officeDocument/2006/relationships/chart" Target="../charts/chart379.xml"/><Relationship Id="rId11" Type="http://schemas.openxmlformats.org/officeDocument/2006/relationships/chart" Target="../charts/chart380.xml"/><Relationship Id="rId12" Type="http://schemas.openxmlformats.org/officeDocument/2006/relationships/chart" Target="../charts/chart381.xml"/><Relationship Id="rId13" Type="http://schemas.openxmlformats.org/officeDocument/2006/relationships/chart" Target="../charts/chart382.xml"/><Relationship Id="rId14" Type="http://schemas.openxmlformats.org/officeDocument/2006/relationships/chart" Target="../charts/chart383.xml"/><Relationship Id="rId15" Type="http://schemas.openxmlformats.org/officeDocument/2006/relationships/chart" Target="../charts/chart384.xml"/><Relationship Id="rId16" Type="http://schemas.openxmlformats.org/officeDocument/2006/relationships/chart" Target="../charts/chart38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 Id="rId7" Type="http://schemas.openxmlformats.org/officeDocument/2006/relationships/chart" Target="../charts/chart387.xml"/><Relationship Id="rId8" Type="http://schemas.openxmlformats.org/officeDocument/2006/relationships/chart" Target="../charts/chart388.xml"/><Relationship Id="rId9" Type="http://schemas.openxmlformats.org/officeDocument/2006/relationships/chart" Target="../charts/chart389.xml"/><Relationship Id="rId10" Type="http://schemas.openxmlformats.org/officeDocument/2006/relationships/chart" Target="../charts/chart390.xml"/><Relationship Id="rId11" Type="http://schemas.openxmlformats.org/officeDocument/2006/relationships/chart" Target="../charts/chart391.xml"/><Relationship Id="rId12" Type="http://schemas.openxmlformats.org/officeDocument/2006/relationships/chart" Target="../charts/chart392.xml"/><Relationship Id="rId13" Type="http://schemas.openxmlformats.org/officeDocument/2006/relationships/chart" Target="../charts/chart393.xml"/><Relationship Id="rId14" Type="http://schemas.openxmlformats.org/officeDocument/2006/relationships/chart" Target="../charts/chart394.xml"/><Relationship Id="rId15" Type="http://schemas.openxmlformats.org/officeDocument/2006/relationships/chart" Target="../charts/chart395.xml"/><Relationship Id="rId16" Type="http://schemas.openxmlformats.org/officeDocument/2006/relationships/chart" Target="../charts/chart39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8.xml"/><Relationship Id="rId7" Type="http://schemas.openxmlformats.org/officeDocument/2006/relationships/chart" Target="../charts/chart409.xml"/><Relationship Id="rId8" Type="http://schemas.openxmlformats.org/officeDocument/2006/relationships/chart" Target="../charts/chart410.xml"/><Relationship Id="rId9" Type="http://schemas.openxmlformats.org/officeDocument/2006/relationships/chart" Target="../charts/chart411.xml"/><Relationship Id="rId10" Type="http://schemas.openxmlformats.org/officeDocument/2006/relationships/chart" Target="../charts/chart412.xml"/><Relationship Id="rId11" Type="http://schemas.openxmlformats.org/officeDocument/2006/relationships/chart" Target="../charts/chart413.xml"/><Relationship Id="rId12" Type="http://schemas.openxmlformats.org/officeDocument/2006/relationships/chart" Target="../charts/chart414.xml"/><Relationship Id="rId13" Type="http://schemas.openxmlformats.org/officeDocument/2006/relationships/chart" Target="../charts/chart415.xml"/><Relationship Id="rId14" Type="http://schemas.openxmlformats.org/officeDocument/2006/relationships/chart" Target="../charts/chart416.xml"/><Relationship Id="rId15" Type="http://schemas.openxmlformats.org/officeDocument/2006/relationships/chart" Target="../charts/chart417.xml"/><Relationship Id="rId16" Type="http://schemas.openxmlformats.org/officeDocument/2006/relationships/chart" Target="../charts/chart41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 Id="rId8" Type="http://schemas.openxmlformats.org/officeDocument/2006/relationships/chart" Target="../charts/chart421.xml"/><Relationship Id="rId9" Type="http://schemas.openxmlformats.org/officeDocument/2006/relationships/chart" Target="../charts/chart422.xml"/><Relationship Id="rId10" Type="http://schemas.openxmlformats.org/officeDocument/2006/relationships/chart" Target="../charts/chart423.xml"/><Relationship Id="rId11" Type="http://schemas.openxmlformats.org/officeDocument/2006/relationships/chart" Target="../charts/chart424.xml"/><Relationship Id="rId12" Type="http://schemas.openxmlformats.org/officeDocument/2006/relationships/chart" Target="../charts/chart425.xml"/><Relationship Id="rId13" Type="http://schemas.openxmlformats.org/officeDocument/2006/relationships/chart" Target="../charts/chart426.xml"/><Relationship Id="rId14" Type="http://schemas.openxmlformats.org/officeDocument/2006/relationships/chart" Target="../charts/chart427.xml"/><Relationship Id="rId15" Type="http://schemas.openxmlformats.org/officeDocument/2006/relationships/chart" Target="../charts/chart428.xml"/><Relationship Id="rId16" Type="http://schemas.openxmlformats.org/officeDocument/2006/relationships/chart" Target="../charts/chart42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0.xml"/><Relationship Id="rId7" Type="http://schemas.openxmlformats.org/officeDocument/2006/relationships/chart" Target="../charts/chart431.xml"/><Relationship Id="rId8" Type="http://schemas.openxmlformats.org/officeDocument/2006/relationships/chart" Target="../charts/chart432.xml"/><Relationship Id="rId9" Type="http://schemas.openxmlformats.org/officeDocument/2006/relationships/chart" Target="../charts/chart433.xml"/><Relationship Id="rId10" Type="http://schemas.openxmlformats.org/officeDocument/2006/relationships/chart" Target="../charts/chart434.xml"/><Relationship Id="rId11" Type="http://schemas.openxmlformats.org/officeDocument/2006/relationships/chart" Target="../charts/chart435.xml"/><Relationship Id="rId12" Type="http://schemas.openxmlformats.org/officeDocument/2006/relationships/chart" Target="../charts/chart436.xml"/><Relationship Id="rId13" Type="http://schemas.openxmlformats.org/officeDocument/2006/relationships/chart" Target="../charts/chart437.xml"/><Relationship Id="rId14" Type="http://schemas.openxmlformats.org/officeDocument/2006/relationships/chart" Target="../charts/chart438.xml"/><Relationship Id="rId15" Type="http://schemas.openxmlformats.org/officeDocument/2006/relationships/chart" Target="../charts/chart439.xml"/><Relationship Id="rId16" Type="http://schemas.openxmlformats.org/officeDocument/2006/relationships/chart" Target="../charts/chart4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 Id="rId14" Type="http://schemas.openxmlformats.org/officeDocument/2006/relationships/chart" Target="../charts/chart449.xml"/><Relationship Id="rId15" Type="http://schemas.openxmlformats.org/officeDocument/2006/relationships/chart" Target="../charts/chart450.xml"/><Relationship Id="rId16" Type="http://schemas.openxmlformats.org/officeDocument/2006/relationships/chart" Target="../charts/chart45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2.xml"/><Relationship Id="rId7" Type="http://schemas.openxmlformats.org/officeDocument/2006/relationships/chart" Target="../charts/chart453.xml"/><Relationship Id="rId8" Type="http://schemas.openxmlformats.org/officeDocument/2006/relationships/chart" Target="../charts/chart454.xml"/><Relationship Id="rId9" Type="http://schemas.openxmlformats.org/officeDocument/2006/relationships/chart" Target="../charts/chart455.xml"/><Relationship Id="rId10" Type="http://schemas.openxmlformats.org/officeDocument/2006/relationships/chart" Target="../charts/chart456.xml"/><Relationship Id="rId11" Type="http://schemas.openxmlformats.org/officeDocument/2006/relationships/chart" Target="../charts/chart457.xml"/><Relationship Id="rId12" Type="http://schemas.openxmlformats.org/officeDocument/2006/relationships/chart" Target="../charts/chart458.xml"/><Relationship Id="rId13" Type="http://schemas.openxmlformats.org/officeDocument/2006/relationships/chart" Target="../charts/chart459.xml"/><Relationship Id="rId14" Type="http://schemas.openxmlformats.org/officeDocument/2006/relationships/chart" Target="../charts/chart460.xml"/><Relationship Id="rId15" Type="http://schemas.openxmlformats.org/officeDocument/2006/relationships/chart" Target="../charts/chart461.xml"/><Relationship Id="rId16" Type="http://schemas.openxmlformats.org/officeDocument/2006/relationships/chart" Target="../charts/chart46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 Id="rId8" Type="http://schemas.openxmlformats.org/officeDocument/2006/relationships/chart" Target="../charts/chart465.xml"/><Relationship Id="rId9" Type="http://schemas.openxmlformats.org/officeDocument/2006/relationships/chart" Target="../charts/chart466.xml"/><Relationship Id="rId10" Type="http://schemas.openxmlformats.org/officeDocument/2006/relationships/chart" Target="../charts/chart467.xml"/><Relationship Id="rId11" Type="http://schemas.openxmlformats.org/officeDocument/2006/relationships/chart" Target="../charts/chart468.xml"/><Relationship Id="rId12" Type="http://schemas.openxmlformats.org/officeDocument/2006/relationships/chart" Target="../charts/chart469.xml"/><Relationship Id="rId13" Type="http://schemas.openxmlformats.org/officeDocument/2006/relationships/chart" Target="../charts/chart470.xml"/><Relationship Id="rId14" Type="http://schemas.openxmlformats.org/officeDocument/2006/relationships/chart" Target="../charts/chart471.xml"/><Relationship Id="rId15" Type="http://schemas.openxmlformats.org/officeDocument/2006/relationships/chart" Target="../charts/chart472.xml"/><Relationship Id="rId16" Type="http://schemas.openxmlformats.org/officeDocument/2006/relationships/chart" Target="../charts/chart47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4.xml"/><Relationship Id="rId7" Type="http://schemas.openxmlformats.org/officeDocument/2006/relationships/chart" Target="../charts/chart475.xml"/><Relationship Id="rId8" Type="http://schemas.openxmlformats.org/officeDocument/2006/relationships/chart" Target="../charts/chart476.xml"/><Relationship Id="rId9" Type="http://schemas.openxmlformats.org/officeDocument/2006/relationships/chart" Target="../charts/chart477.xml"/><Relationship Id="rId10" Type="http://schemas.openxmlformats.org/officeDocument/2006/relationships/chart" Target="../charts/chart478.xml"/><Relationship Id="rId11" Type="http://schemas.openxmlformats.org/officeDocument/2006/relationships/chart" Target="../charts/chart479.xml"/><Relationship Id="rId12" Type="http://schemas.openxmlformats.org/officeDocument/2006/relationships/chart" Target="../charts/chart480.xml"/><Relationship Id="rId13" Type="http://schemas.openxmlformats.org/officeDocument/2006/relationships/chart" Target="../charts/chart481.xml"/><Relationship Id="rId14" Type="http://schemas.openxmlformats.org/officeDocument/2006/relationships/chart" Target="../charts/chart482.xml"/><Relationship Id="rId15" Type="http://schemas.openxmlformats.org/officeDocument/2006/relationships/chart" Target="../charts/chart483.xml"/><Relationship Id="rId16" Type="http://schemas.openxmlformats.org/officeDocument/2006/relationships/chart" Target="../charts/chart48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 Id="rId8" Type="http://schemas.openxmlformats.org/officeDocument/2006/relationships/chart" Target="../charts/chart487.xml"/><Relationship Id="rId9" Type="http://schemas.openxmlformats.org/officeDocument/2006/relationships/chart" Target="../charts/chart488.xml"/><Relationship Id="rId10" Type="http://schemas.openxmlformats.org/officeDocument/2006/relationships/chart" Target="../charts/chart489.xml"/><Relationship Id="rId11" Type="http://schemas.openxmlformats.org/officeDocument/2006/relationships/chart" Target="../charts/chart490.xml"/><Relationship Id="rId12" Type="http://schemas.openxmlformats.org/officeDocument/2006/relationships/chart" Target="../charts/chart491.xml"/><Relationship Id="rId13" Type="http://schemas.openxmlformats.org/officeDocument/2006/relationships/chart" Target="../charts/chart492.xml"/><Relationship Id="rId14" Type="http://schemas.openxmlformats.org/officeDocument/2006/relationships/chart" Target="../charts/chart493.xml"/><Relationship Id="rId15" Type="http://schemas.openxmlformats.org/officeDocument/2006/relationships/chart" Target="../charts/chart494.xml"/><Relationship Id="rId16" Type="http://schemas.openxmlformats.org/officeDocument/2006/relationships/chart" Target="../charts/chart49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6.xml"/><Relationship Id="rId7" Type="http://schemas.openxmlformats.org/officeDocument/2006/relationships/chart" Target="../charts/chart497.xml"/><Relationship Id="rId8" Type="http://schemas.openxmlformats.org/officeDocument/2006/relationships/chart" Target="../charts/chart498.xml"/><Relationship Id="rId9" Type="http://schemas.openxmlformats.org/officeDocument/2006/relationships/chart" Target="../charts/chart499.xml"/><Relationship Id="rId10" Type="http://schemas.openxmlformats.org/officeDocument/2006/relationships/chart" Target="../charts/chart500.xml"/><Relationship Id="rId11" Type="http://schemas.openxmlformats.org/officeDocument/2006/relationships/chart" Target="../charts/chart501.xml"/><Relationship Id="rId12" Type="http://schemas.openxmlformats.org/officeDocument/2006/relationships/chart" Target="../charts/chart502.xml"/><Relationship Id="rId13" Type="http://schemas.openxmlformats.org/officeDocument/2006/relationships/chart" Target="../charts/chart503.xml"/><Relationship Id="rId14" Type="http://schemas.openxmlformats.org/officeDocument/2006/relationships/chart" Target="../charts/chart504.xml"/><Relationship Id="rId15" Type="http://schemas.openxmlformats.org/officeDocument/2006/relationships/chart" Target="../charts/chart505.xml"/><Relationship Id="rId16" Type="http://schemas.openxmlformats.org/officeDocument/2006/relationships/chart" Target="../charts/chart50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 Id="rId8" Type="http://schemas.openxmlformats.org/officeDocument/2006/relationships/chart" Target="../charts/chart509.xml"/><Relationship Id="rId9" Type="http://schemas.openxmlformats.org/officeDocument/2006/relationships/chart" Target="../charts/chart510.xml"/><Relationship Id="rId10" Type="http://schemas.openxmlformats.org/officeDocument/2006/relationships/chart" Target="../charts/chart511.xml"/><Relationship Id="rId11" Type="http://schemas.openxmlformats.org/officeDocument/2006/relationships/chart" Target="../charts/chart512.xml"/><Relationship Id="rId12" Type="http://schemas.openxmlformats.org/officeDocument/2006/relationships/chart" Target="../charts/chart513.xml"/><Relationship Id="rId13" Type="http://schemas.openxmlformats.org/officeDocument/2006/relationships/chart" Target="../charts/chart514.xml"/><Relationship Id="rId14" Type="http://schemas.openxmlformats.org/officeDocument/2006/relationships/chart" Target="../charts/chart515.xml"/><Relationship Id="rId15" Type="http://schemas.openxmlformats.org/officeDocument/2006/relationships/chart" Target="../charts/chart516.xml"/><Relationship Id="rId16" Type="http://schemas.openxmlformats.org/officeDocument/2006/relationships/chart" Target="../charts/chart51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8.xml"/><Relationship Id="rId7" Type="http://schemas.openxmlformats.org/officeDocument/2006/relationships/chart" Target="../charts/chart519.xml"/><Relationship Id="rId8" Type="http://schemas.openxmlformats.org/officeDocument/2006/relationships/chart" Target="../charts/chart520.xml"/><Relationship Id="rId9" Type="http://schemas.openxmlformats.org/officeDocument/2006/relationships/chart" Target="../charts/chart521.xml"/><Relationship Id="rId10" Type="http://schemas.openxmlformats.org/officeDocument/2006/relationships/chart" Target="../charts/chart522.xml"/><Relationship Id="rId11" Type="http://schemas.openxmlformats.org/officeDocument/2006/relationships/chart" Target="../charts/chart523.xml"/><Relationship Id="rId12" Type="http://schemas.openxmlformats.org/officeDocument/2006/relationships/chart" Target="../charts/chart524.xml"/><Relationship Id="rId13" Type="http://schemas.openxmlformats.org/officeDocument/2006/relationships/chart" Target="../charts/chart525.xml"/><Relationship Id="rId14" Type="http://schemas.openxmlformats.org/officeDocument/2006/relationships/chart" Target="../charts/chart526.xml"/><Relationship Id="rId15" Type="http://schemas.openxmlformats.org/officeDocument/2006/relationships/chart" Target="../charts/chart527.xml"/><Relationship Id="rId16" Type="http://schemas.openxmlformats.org/officeDocument/2006/relationships/chart" Target="../charts/chart52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0.xml"/><Relationship Id="rId7" Type="http://schemas.openxmlformats.org/officeDocument/2006/relationships/chart" Target="../charts/chart541.xml"/><Relationship Id="rId8" Type="http://schemas.openxmlformats.org/officeDocument/2006/relationships/chart" Target="../charts/chart542.xml"/><Relationship Id="rId9" Type="http://schemas.openxmlformats.org/officeDocument/2006/relationships/chart" Target="../charts/chart543.xml"/><Relationship Id="rId10" Type="http://schemas.openxmlformats.org/officeDocument/2006/relationships/chart" Target="../charts/chart544.xml"/><Relationship Id="rId11" Type="http://schemas.openxmlformats.org/officeDocument/2006/relationships/chart" Target="../charts/chart545.xml"/><Relationship Id="rId12" Type="http://schemas.openxmlformats.org/officeDocument/2006/relationships/chart" Target="../charts/chart546.xml"/><Relationship Id="rId13" Type="http://schemas.openxmlformats.org/officeDocument/2006/relationships/chart" Target="../charts/chart547.xml"/><Relationship Id="rId14" Type="http://schemas.openxmlformats.org/officeDocument/2006/relationships/chart" Target="../charts/chart548.xml"/><Relationship Id="rId15" Type="http://schemas.openxmlformats.org/officeDocument/2006/relationships/chart" Target="../charts/chart549.xml"/><Relationship Id="rId16" Type="http://schemas.openxmlformats.org/officeDocument/2006/relationships/chart" Target="../charts/chart5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1.xml"/><Relationship Id="rId7" Type="http://schemas.openxmlformats.org/officeDocument/2006/relationships/chart" Target="../charts/chart552.xml"/><Relationship Id="rId8" Type="http://schemas.openxmlformats.org/officeDocument/2006/relationships/chart" Target="../charts/chart553.xml"/><Relationship Id="rId9" Type="http://schemas.openxmlformats.org/officeDocument/2006/relationships/chart" Target="../charts/chart554.xml"/><Relationship Id="rId10" Type="http://schemas.openxmlformats.org/officeDocument/2006/relationships/chart" Target="../charts/chart555.xml"/><Relationship Id="rId11" Type="http://schemas.openxmlformats.org/officeDocument/2006/relationships/chart" Target="../charts/chart556.xml"/><Relationship Id="rId12" Type="http://schemas.openxmlformats.org/officeDocument/2006/relationships/chart" Target="../charts/chart557.xml"/><Relationship Id="rId13" Type="http://schemas.openxmlformats.org/officeDocument/2006/relationships/chart" Target="../charts/chart558.xml"/><Relationship Id="rId14" Type="http://schemas.openxmlformats.org/officeDocument/2006/relationships/chart" Target="../charts/chart559.xml"/><Relationship Id="rId15" Type="http://schemas.openxmlformats.org/officeDocument/2006/relationships/chart" Target="../charts/chart560.xml"/><Relationship Id="rId16" Type="http://schemas.openxmlformats.org/officeDocument/2006/relationships/chart" Target="../charts/chart56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2.xml"/><Relationship Id="rId7" Type="http://schemas.openxmlformats.org/officeDocument/2006/relationships/chart" Target="../charts/chart563.xml"/><Relationship Id="rId8" Type="http://schemas.openxmlformats.org/officeDocument/2006/relationships/chart" Target="../charts/chart564.xml"/><Relationship Id="rId9" Type="http://schemas.openxmlformats.org/officeDocument/2006/relationships/chart" Target="../charts/chart565.xml"/><Relationship Id="rId10" Type="http://schemas.openxmlformats.org/officeDocument/2006/relationships/chart" Target="../charts/chart566.xml"/><Relationship Id="rId11" Type="http://schemas.openxmlformats.org/officeDocument/2006/relationships/chart" Target="../charts/chart567.xml"/><Relationship Id="rId12" Type="http://schemas.openxmlformats.org/officeDocument/2006/relationships/chart" Target="../charts/chart568.xml"/><Relationship Id="rId13" Type="http://schemas.openxmlformats.org/officeDocument/2006/relationships/chart" Target="../charts/chart569.xml"/><Relationship Id="rId14" Type="http://schemas.openxmlformats.org/officeDocument/2006/relationships/chart" Target="../charts/chart570.xml"/><Relationship Id="rId15" Type="http://schemas.openxmlformats.org/officeDocument/2006/relationships/chart" Target="../charts/chart571.xml"/><Relationship Id="rId16" Type="http://schemas.openxmlformats.org/officeDocument/2006/relationships/chart" Target="../charts/chart57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3.xml"/><Relationship Id="rId7" Type="http://schemas.openxmlformats.org/officeDocument/2006/relationships/chart" Target="../charts/chart574.xml"/><Relationship Id="rId8" Type="http://schemas.openxmlformats.org/officeDocument/2006/relationships/chart" Target="../charts/chart575.xml"/><Relationship Id="rId9" Type="http://schemas.openxmlformats.org/officeDocument/2006/relationships/chart" Target="../charts/chart576.xml"/><Relationship Id="rId10" Type="http://schemas.openxmlformats.org/officeDocument/2006/relationships/chart" Target="../charts/chart577.xml"/><Relationship Id="rId11" Type="http://schemas.openxmlformats.org/officeDocument/2006/relationships/chart" Target="../charts/chart578.xml"/><Relationship Id="rId12" Type="http://schemas.openxmlformats.org/officeDocument/2006/relationships/chart" Target="../charts/chart579.xml"/><Relationship Id="rId13" Type="http://schemas.openxmlformats.org/officeDocument/2006/relationships/chart" Target="../charts/chart580.xml"/><Relationship Id="rId14" Type="http://schemas.openxmlformats.org/officeDocument/2006/relationships/chart" Target="../charts/chart581.xml"/><Relationship Id="rId15" Type="http://schemas.openxmlformats.org/officeDocument/2006/relationships/chart" Target="../charts/chart582.xml"/><Relationship Id="rId16" Type="http://schemas.openxmlformats.org/officeDocument/2006/relationships/chart" Target="../charts/chart58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4.xml"/><Relationship Id="rId7" Type="http://schemas.openxmlformats.org/officeDocument/2006/relationships/chart" Target="../charts/chart585.xml"/><Relationship Id="rId8" Type="http://schemas.openxmlformats.org/officeDocument/2006/relationships/chart" Target="../charts/chart586.xml"/><Relationship Id="rId9" Type="http://schemas.openxmlformats.org/officeDocument/2006/relationships/chart" Target="../charts/chart587.xml"/><Relationship Id="rId10" Type="http://schemas.openxmlformats.org/officeDocument/2006/relationships/chart" Target="../charts/chart588.xml"/><Relationship Id="rId11" Type="http://schemas.openxmlformats.org/officeDocument/2006/relationships/chart" Target="../charts/chart589.xml"/><Relationship Id="rId12" Type="http://schemas.openxmlformats.org/officeDocument/2006/relationships/chart" Target="../charts/chart590.xml"/><Relationship Id="rId13" Type="http://schemas.openxmlformats.org/officeDocument/2006/relationships/chart" Target="../charts/chart591.xml"/><Relationship Id="rId14" Type="http://schemas.openxmlformats.org/officeDocument/2006/relationships/chart" Target="../charts/chart592.xml"/><Relationship Id="rId15" Type="http://schemas.openxmlformats.org/officeDocument/2006/relationships/chart" Target="../charts/chart593.xml"/><Relationship Id="rId16" Type="http://schemas.openxmlformats.org/officeDocument/2006/relationships/chart" Target="../charts/chart59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5.xml"/><Relationship Id="rId7" Type="http://schemas.openxmlformats.org/officeDocument/2006/relationships/chart" Target="../charts/chart596.xml"/><Relationship Id="rId8" Type="http://schemas.openxmlformats.org/officeDocument/2006/relationships/chart" Target="../charts/chart597.xml"/><Relationship Id="rId9" Type="http://schemas.openxmlformats.org/officeDocument/2006/relationships/chart" Target="../charts/chart598.xml"/><Relationship Id="rId10" Type="http://schemas.openxmlformats.org/officeDocument/2006/relationships/chart" Target="../charts/chart599.xml"/><Relationship Id="rId11" Type="http://schemas.openxmlformats.org/officeDocument/2006/relationships/chart" Target="../charts/chart600.xml"/><Relationship Id="rId12" Type="http://schemas.openxmlformats.org/officeDocument/2006/relationships/chart" Target="../charts/chart601.xml"/><Relationship Id="rId13" Type="http://schemas.openxmlformats.org/officeDocument/2006/relationships/chart" Target="../charts/chart602.xml"/><Relationship Id="rId14" Type="http://schemas.openxmlformats.org/officeDocument/2006/relationships/chart" Target="../charts/chart603.xml"/><Relationship Id="rId15" Type="http://schemas.openxmlformats.org/officeDocument/2006/relationships/chart" Target="../charts/chart604.xml"/><Relationship Id="rId16" Type="http://schemas.openxmlformats.org/officeDocument/2006/relationships/chart" Target="../charts/chart60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6.xml"/><Relationship Id="rId7" Type="http://schemas.openxmlformats.org/officeDocument/2006/relationships/chart" Target="../charts/chart607.xml"/><Relationship Id="rId8" Type="http://schemas.openxmlformats.org/officeDocument/2006/relationships/chart" Target="../charts/chart608.xml"/><Relationship Id="rId9" Type="http://schemas.openxmlformats.org/officeDocument/2006/relationships/chart" Target="../charts/chart609.xml"/><Relationship Id="rId10" Type="http://schemas.openxmlformats.org/officeDocument/2006/relationships/chart" Target="../charts/chart610.xml"/><Relationship Id="rId11" Type="http://schemas.openxmlformats.org/officeDocument/2006/relationships/chart" Target="../charts/chart611.xml"/><Relationship Id="rId12" Type="http://schemas.openxmlformats.org/officeDocument/2006/relationships/chart" Target="../charts/chart612.xml"/><Relationship Id="rId13" Type="http://schemas.openxmlformats.org/officeDocument/2006/relationships/chart" Target="../charts/chart613.xml"/><Relationship Id="rId14" Type="http://schemas.openxmlformats.org/officeDocument/2006/relationships/chart" Target="../charts/chart614.xml"/><Relationship Id="rId15" Type="http://schemas.openxmlformats.org/officeDocument/2006/relationships/chart" Target="../charts/chart615.xml"/><Relationship Id="rId16" Type="http://schemas.openxmlformats.org/officeDocument/2006/relationships/chart" Target="../charts/chart61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 Id="rId14" Type="http://schemas.openxmlformats.org/officeDocument/2006/relationships/chart" Target="../charts/chart625.xml"/><Relationship Id="rId15" Type="http://schemas.openxmlformats.org/officeDocument/2006/relationships/chart" Target="../charts/chart626.xml"/><Relationship Id="rId16" Type="http://schemas.openxmlformats.org/officeDocument/2006/relationships/chart" Target="../charts/chart62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8.xml"/><Relationship Id="rId7" Type="http://schemas.openxmlformats.org/officeDocument/2006/relationships/chart" Target="../charts/chart629.xml"/><Relationship Id="rId8" Type="http://schemas.openxmlformats.org/officeDocument/2006/relationships/chart" Target="../charts/chart630.xml"/><Relationship Id="rId9" Type="http://schemas.openxmlformats.org/officeDocument/2006/relationships/chart" Target="../charts/chart631.xml"/><Relationship Id="rId10" Type="http://schemas.openxmlformats.org/officeDocument/2006/relationships/chart" Target="../charts/chart632.xml"/><Relationship Id="rId11" Type="http://schemas.openxmlformats.org/officeDocument/2006/relationships/chart" Target="../charts/chart633.xml"/><Relationship Id="rId12" Type="http://schemas.openxmlformats.org/officeDocument/2006/relationships/chart" Target="../charts/chart634.xml"/><Relationship Id="rId13" Type="http://schemas.openxmlformats.org/officeDocument/2006/relationships/chart" Target="../charts/chart635.xml"/><Relationship Id="rId14" Type="http://schemas.openxmlformats.org/officeDocument/2006/relationships/chart" Target="../charts/chart636.xml"/><Relationship Id="rId15" Type="http://schemas.openxmlformats.org/officeDocument/2006/relationships/chart" Target="../charts/chart637.xml"/><Relationship Id="rId16" Type="http://schemas.openxmlformats.org/officeDocument/2006/relationships/chart" Target="../charts/chart63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9.xml"/><Relationship Id="rId7" Type="http://schemas.openxmlformats.org/officeDocument/2006/relationships/chart" Target="../charts/chart640.xml"/><Relationship Id="rId8" Type="http://schemas.openxmlformats.org/officeDocument/2006/relationships/chart" Target="../charts/chart641.xml"/><Relationship Id="rId9" Type="http://schemas.openxmlformats.org/officeDocument/2006/relationships/chart" Target="../charts/chart642.xml"/><Relationship Id="rId10" Type="http://schemas.openxmlformats.org/officeDocument/2006/relationships/chart" Target="../charts/chart643.xml"/><Relationship Id="rId11" Type="http://schemas.openxmlformats.org/officeDocument/2006/relationships/chart" Target="../charts/chart644.xml"/><Relationship Id="rId12" Type="http://schemas.openxmlformats.org/officeDocument/2006/relationships/chart" Target="../charts/chart645.xml"/><Relationship Id="rId13" Type="http://schemas.openxmlformats.org/officeDocument/2006/relationships/chart" Target="../charts/chart646.xml"/><Relationship Id="rId14" Type="http://schemas.openxmlformats.org/officeDocument/2006/relationships/chart" Target="../charts/chart647.xml"/><Relationship Id="rId15" Type="http://schemas.openxmlformats.org/officeDocument/2006/relationships/chart" Target="../charts/chart648.xml"/><Relationship Id="rId16" Type="http://schemas.openxmlformats.org/officeDocument/2006/relationships/chart" Target="../charts/chart64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0.xml"/><Relationship Id="rId7" Type="http://schemas.openxmlformats.org/officeDocument/2006/relationships/chart" Target="../charts/chart651.xml"/><Relationship Id="rId8" Type="http://schemas.openxmlformats.org/officeDocument/2006/relationships/chart" Target="../charts/chart652.xml"/><Relationship Id="rId9" Type="http://schemas.openxmlformats.org/officeDocument/2006/relationships/chart" Target="../charts/chart653.xml"/><Relationship Id="rId10" Type="http://schemas.openxmlformats.org/officeDocument/2006/relationships/chart" Target="../charts/chart654.xml"/><Relationship Id="rId11" Type="http://schemas.openxmlformats.org/officeDocument/2006/relationships/chart" Target="../charts/chart655.xml"/><Relationship Id="rId12" Type="http://schemas.openxmlformats.org/officeDocument/2006/relationships/chart" Target="../charts/chart656.xml"/><Relationship Id="rId13" Type="http://schemas.openxmlformats.org/officeDocument/2006/relationships/chart" Target="../charts/chart657.xml"/><Relationship Id="rId14" Type="http://schemas.openxmlformats.org/officeDocument/2006/relationships/chart" Target="../charts/chart658.xml"/><Relationship Id="rId15" Type="http://schemas.openxmlformats.org/officeDocument/2006/relationships/chart" Target="../charts/chart659.xml"/><Relationship Id="rId16" Type="http://schemas.openxmlformats.org/officeDocument/2006/relationships/chart" Target="../charts/chart6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 Id="rId8" Type="http://schemas.openxmlformats.org/officeDocument/2006/relationships/chart" Target="../charts/chart663.xml"/><Relationship Id="rId9" Type="http://schemas.openxmlformats.org/officeDocument/2006/relationships/chart" Target="../charts/chart664.xml"/><Relationship Id="rId10" Type="http://schemas.openxmlformats.org/officeDocument/2006/relationships/chart" Target="../charts/chart665.xml"/><Relationship Id="rId11" Type="http://schemas.openxmlformats.org/officeDocument/2006/relationships/chart" Target="../charts/chart666.xml"/><Relationship Id="rId12" Type="http://schemas.openxmlformats.org/officeDocument/2006/relationships/chart" Target="../charts/chart667.xml"/><Relationship Id="rId13" Type="http://schemas.openxmlformats.org/officeDocument/2006/relationships/chart" Target="../charts/chart668.xml"/><Relationship Id="rId14" Type="http://schemas.openxmlformats.org/officeDocument/2006/relationships/chart" Target="../charts/chart669.xml"/><Relationship Id="rId15" Type="http://schemas.openxmlformats.org/officeDocument/2006/relationships/chart" Target="../charts/chart670.xml"/><Relationship Id="rId16" Type="http://schemas.openxmlformats.org/officeDocument/2006/relationships/chart" Target="../charts/chart67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2.xml"/><Relationship Id="rId7" Type="http://schemas.openxmlformats.org/officeDocument/2006/relationships/chart" Target="../charts/chart673.xml"/><Relationship Id="rId8" Type="http://schemas.openxmlformats.org/officeDocument/2006/relationships/chart" Target="../charts/chart674.xml"/><Relationship Id="rId9" Type="http://schemas.openxmlformats.org/officeDocument/2006/relationships/chart" Target="../charts/chart675.xml"/><Relationship Id="rId10" Type="http://schemas.openxmlformats.org/officeDocument/2006/relationships/chart" Target="../charts/chart676.xml"/><Relationship Id="rId11" Type="http://schemas.openxmlformats.org/officeDocument/2006/relationships/chart" Target="../charts/chart677.xml"/><Relationship Id="rId12" Type="http://schemas.openxmlformats.org/officeDocument/2006/relationships/chart" Target="../charts/chart678.xml"/><Relationship Id="rId13" Type="http://schemas.openxmlformats.org/officeDocument/2006/relationships/chart" Target="../charts/chart679.xml"/><Relationship Id="rId14" Type="http://schemas.openxmlformats.org/officeDocument/2006/relationships/chart" Target="../charts/chart680.xml"/><Relationship Id="rId15" Type="http://schemas.openxmlformats.org/officeDocument/2006/relationships/chart" Target="../charts/chart681.xml"/><Relationship Id="rId16" Type="http://schemas.openxmlformats.org/officeDocument/2006/relationships/chart" Target="../charts/chart68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3.xml"/><Relationship Id="rId7" Type="http://schemas.openxmlformats.org/officeDocument/2006/relationships/chart" Target="../charts/chart684.xml"/><Relationship Id="rId8" Type="http://schemas.openxmlformats.org/officeDocument/2006/relationships/chart" Target="../charts/chart685.xml"/><Relationship Id="rId9" Type="http://schemas.openxmlformats.org/officeDocument/2006/relationships/chart" Target="../charts/chart686.xml"/><Relationship Id="rId10" Type="http://schemas.openxmlformats.org/officeDocument/2006/relationships/chart" Target="../charts/chart687.xml"/><Relationship Id="rId11" Type="http://schemas.openxmlformats.org/officeDocument/2006/relationships/chart" Target="../charts/chart688.xml"/><Relationship Id="rId12" Type="http://schemas.openxmlformats.org/officeDocument/2006/relationships/chart" Target="../charts/chart689.xml"/><Relationship Id="rId13" Type="http://schemas.openxmlformats.org/officeDocument/2006/relationships/chart" Target="../charts/chart690.xml"/><Relationship Id="rId14" Type="http://schemas.openxmlformats.org/officeDocument/2006/relationships/chart" Target="../charts/chart691.xml"/><Relationship Id="rId15" Type="http://schemas.openxmlformats.org/officeDocument/2006/relationships/chart" Target="../charts/chart692.xml"/><Relationship Id="rId16" Type="http://schemas.openxmlformats.org/officeDocument/2006/relationships/chart" Target="../charts/chart69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4.xml"/><Relationship Id="rId7" Type="http://schemas.openxmlformats.org/officeDocument/2006/relationships/chart" Target="../charts/chart695.xml"/><Relationship Id="rId8" Type="http://schemas.openxmlformats.org/officeDocument/2006/relationships/chart" Target="../charts/chart696.xml"/><Relationship Id="rId9" Type="http://schemas.openxmlformats.org/officeDocument/2006/relationships/chart" Target="../charts/chart697.xml"/><Relationship Id="rId10" Type="http://schemas.openxmlformats.org/officeDocument/2006/relationships/chart" Target="../charts/chart698.xml"/><Relationship Id="rId11" Type="http://schemas.openxmlformats.org/officeDocument/2006/relationships/chart" Target="../charts/chart699.xml"/><Relationship Id="rId12" Type="http://schemas.openxmlformats.org/officeDocument/2006/relationships/chart" Target="../charts/chart700.xml"/><Relationship Id="rId13" Type="http://schemas.openxmlformats.org/officeDocument/2006/relationships/chart" Target="../charts/chart701.xml"/><Relationship Id="rId14" Type="http://schemas.openxmlformats.org/officeDocument/2006/relationships/chart" Target="../charts/chart702.xml"/><Relationship Id="rId15" Type="http://schemas.openxmlformats.org/officeDocument/2006/relationships/chart" Target="../charts/chart703.xml"/><Relationship Id="rId16" Type="http://schemas.openxmlformats.org/officeDocument/2006/relationships/chart" Target="../charts/chart70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5.xml"/><Relationship Id="rId7" Type="http://schemas.openxmlformats.org/officeDocument/2006/relationships/chart" Target="../charts/chart706.xml"/><Relationship Id="rId8" Type="http://schemas.openxmlformats.org/officeDocument/2006/relationships/chart" Target="../charts/chart707.xml"/><Relationship Id="rId9" Type="http://schemas.openxmlformats.org/officeDocument/2006/relationships/chart" Target="../charts/chart708.xml"/><Relationship Id="rId10" Type="http://schemas.openxmlformats.org/officeDocument/2006/relationships/chart" Target="../charts/chart709.xml"/><Relationship Id="rId11" Type="http://schemas.openxmlformats.org/officeDocument/2006/relationships/chart" Target="../charts/chart710.xml"/><Relationship Id="rId12" Type="http://schemas.openxmlformats.org/officeDocument/2006/relationships/chart" Target="../charts/chart711.xml"/><Relationship Id="rId13" Type="http://schemas.openxmlformats.org/officeDocument/2006/relationships/chart" Target="../charts/chart712.xml"/><Relationship Id="rId14" Type="http://schemas.openxmlformats.org/officeDocument/2006/relationships/chart" Target="../charts/chart713.xml"/><Relationship Id="rId15" Type="http://schemas.openxmlformats.org/officeDocument/2006/relationships/chart" Target="../charts/chart714.xml"/><Relationship Id="rId16" Type="http://schemas.openxmlformats.org/officeDocument/2006/relationships/chart" Target="../charts/chart71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6.xml"/><Relationship Id="rId7" Type="http://schemas.openxmlformats.org/officeDocument/2006/relationships/chart" Target="../charts/chart717.xml"/><Relationship Id="rId8" Type="http://schemas.openxmlformats.org/officeDocument/2006/relationships/chart" Target="../charts/chart718.xml"/><Relationship Id="rId9" Type="http://schemas.openxmlformats.org/officeDocument/2006/relationships/chart" Target="../charts/chart719.xml"/><Relationship Id="rId10" Type="http://schemas.openxmlformats.org/officeDocument/2006/relationships/chart" Target="../charts/chart720.xml"/><Relationship Id="rId11" Type="http://schemas.openxmlformats.org/officeDocument/2006/relationships/chart" Target="../charts/chart721.xml"/><Relationship Id="rId12" Type="http://schemas.openxmlformats.org/officeDocument/2006/relationships/chart" Target="../charts/chart722.xml"/><Relationship Id="rId13" Type="http://schemas.openxmlformats.org/officeDocument/2006/relationships/chart" Target="../charts/chart723.xml"/><Relationship Id="rId14" Type="http://schemas.openxmlformats.org/officeDocument/2006/relationships/chart" Target="../charts/chart724.xml"/><Relationship Id="rId15" Type="http://schemas.openxmlformats.org/officeDocument/2006/relationships/chart" Target="../charts/chart725.xml"/><Relationship Id="rId16" Type="http://schemas.openxmlformats.org/officeDocument/2006/relationships/chart" Target="../charts/chart72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7.xml"/><Relationship Id="rId7" Type="http://schemas.openxmlformats.org/officeDocument/2006/relationships/chart" Target="../charts/chart728.xml"/><Relationship Id="rId8" Type="http://schemas.openxmlformats.org/officeDocument/2006/relationships/chart" Target="../charts/chart729.xml"/><Relationship Id="rId9" Type="http://schemas.openxmlformats.org/officeDocument/2006/relationships/chart" Target="../charts/chart730.xml"/><Relationship Id="rId10" Type="http://schemas.openxmlformats.org/officeDocument/2006/relationships/chart" Target="../charts/chart731.xml"/><Relationship Id="rId11" Type="http://schemas.openxmlformats.org/officeDocument/2006/relationships/chart" Target="../charts/chart732.xml"/><Relationship Id="rId12" Type="http://schemas.openxmlformats.org/officeDocument/2006/relationships/chart" Target="../charts/chart733.xml"/><Relationship Id="rId13" Type="http://schemas.openxmlformats.org/officeDocument/2006/relationships/chart" Target="../charts/chart734.xml"/><Relationship Id="rId14" Type="http://schemas.openxmlformats.org/officeDocument/2006/relationships/chart" Target="../charts/chart735.xml"/><Relationship Id="rId15" Type="http://schemas.openxmlformats.org/officeDocument/2006/relationships/chart" Target="../charts/chart736.xml"/><Relationship Id="rId16" Type="http://schemas.openxmlformats.org/officeDocument/2006/relationships/chart" Target="../charts/chart73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8.xml"/><Relationship Id="rId7" Type="http://schemas.openxmlformats.org/officeDocument/2006/relationships/chart" Target="../charts/chart739.xml"/><Relationship Id="rId8" Type="http://schemas.openxmlformats.org/officeDocument/2006/relationships/chart" Target="../charts/chart740.xml"/><Relationship Id="rId9" Type="http://schemas.openxmlformats.org/officeDocument/2006/relationships/chart" Target="../charts/chart741.xml"/><Relationship Id="rId10" Type="http://schemas.openxmlformats.org/officeDocument/2006/relationships/chart" Target="../charts/chart742.xml"/><Relationship Id="rId11" Type="http://schemas.openxmlformats.org/officeDocument/2006/relationships/chart" Target="../charts/chart743.xml"/><Relationship Id="rId12" Type="http://schemas.openxmlformats.org/officeDocument/2006/relationships/chart" Target="../charts/chart744.xml"/><Relationship Id="rId13" Type="http://schemas.openxmlformats.org/officeDocument/2006/relationships/chart" Target="../charts/chart745.xml"/><Relationship Id="rId14" Type="http://schemas.openxmlformats.org/officeDocument/2006/relationships/chart" Target="../charts/chart746.xml"/><Relationship Id="rId15" Type="http://schemas.openxmlformats.org/officeDocument/2006/relationships/chart" Target="../charts/chart747.xml"/><Relationship Id="rId16" Type="http://schemas.openxmlformats.org/officeDocument/2006/relationships/chart" Target="../charts/chart74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9.xml"/><Relationship Id="rId7" Type="http://schemas.openxmlformats.org/officeDocument/2006/relationships/chart" Target="../charts/chart750.xml"/><Relationship Id="rId8" Type="http://schemas.openxmlformats.org/officeDocument/2006/relationships/chart" Target="../charts/chart751.xml"/><Relationship Id="rId9" Type="http://schemas.openxmlformats.org/officeDocument/2006/relationships/chart" Target="../charts/chart752.xml"/><Relationship Id="rId10" Type="http://schemas.openxmlformats.org/officeDocument/2006/relationships/chart" Target="../charts/chart753.xml"/><Relationship Id="rId11" Type="http://schemas.openxmlformats.org/officeDocument/2006/relationships/chart" Target="../charts/chart754.xml"/><Relationship Id="rId12" Type="http://schemas.openxmlformats.org/officeDocument/2006/relationships/chart" Target="../charts/chart755.xml"/><Relationship Id="rId13" Type="http://schemas.openxmlformats.org/officeDocument/2006/relationships/chart" Target="../charts/chart756.xml"/><Relationship Id="rId14" Type="http://schemas.openxmlformats.org/officeDocument/2006/relationships/chart" Target="../charts/chart757.xml"/><Relationship Id="rId15" Type="http://schemas.openxmlformats.org/officeDocument/2006/relationships/chart" Target="../charts/chart758.xml"/><Relationship Id="rId16" Type="http://schemas.openxmlformats.org/officeDocument/2006/relationships/chart" Target="../charts/chart75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0.xml"/><Relationship Id="rId7" Type="http://schemas.openxmlformats.org/officeDocument/2006/relationships/chart" Target="../charts/chart761.xml"/><Relationship Id="rId8" Type="http://schemas.openxmlformats.org/officeDocument/2006/relationships/chart" Target="../charts/chart762.xml"/><Relationship Id="rId9" Type="http://schemas.openxmlformats.org/officeDocument/2006/relationships/chart" Target="../charts/chart763.xml"/><Relationship Id="rId10" Type="http://schemas.openxmlformats.org/officeDocument/2006/relationships/chart" Target="../charts/chart764.xml"/><Relationship Id="rId11" Type="http://schemas.openxmlformats.org/officeDocument/2006/relationships/chart" Target="../charts/chart765.xml"/><Relationship Id="rId12" Type="http://schemas.openxmlformats.org/officeDocument/2006/relationships/chart" Target="../charts/chart766.xml"/><Relationship Id="rId13" Type="http://schemas.openxmlformats.org/officeDocument/2006/relationships/chart" Target="../charts/chart767.xml"/><Relationship Id="rId14" Type="http://schemas.openxmlformats.org/officeDocument/2006/relationships/chart" Target="../charts/chart768.xml"/><Relationship Id="rId15" Type="http://schemas.openxmlformats.org/officeDocument/2006/relationships/chart" Target="../charts/chart769.xml"/><Relationship Id="rId16" Type="http://schemas.openxmlformats.org/officeDocument/2006/relationships/chart" Target="../charts/chart7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1.xml"/><Relationship Id="rId7" Type="http://schemas.openxmlformats.org/officeDocument/2006/relationships/chart" Target="../charts/chart772.xml"/><Relationship Id="rId8" Type="http://schemas.openxmlformats.org/officeDocument/2006/relationships/chart" Target="../charts/chart773.xml"/><Relationship Id="rId9" Type="http://schemas.openxmlformats.org/officeDocument/2006/relationships/chart" Target="../charts/chart774.xml"/><Relationship Id="rId10" Type="http://schemas.openxmlformats.org/officeDocument/2006/relationships/chart" Target="../charts/chart775.xml"/><Relationship Id="rId11" Type="http://schemas.openxmlformats.org/officeDocument/2006/relationships/chart" Target="../charts/chart776.xml"/><Relationship Id="rId12" Type="http://schemas.openxmlformats.org/officeDocument/2006/relationships/chart" Target="../charts/chart777.xml"/><Relationship Id="rId13" Type="http://schemas.openxmlformats.org/officeDocument/2006/relationships/chart" Target="../charts/chart778.xml"/><Relationship Id="rId14" Type="http://schemas.openxmlformats.org/officeDocument/2006/relationships/chart" Target="../charts/chart779.xml"/><Relationship Id="rId15" Type="http://schemas.openxmlformats.org/officeDocument/2006/relationships/chart" Target="../charts/chart780.xml"/><Relationship Id="rId16" Type="http://schemas.openxmlformats.org/officeDocument/2006/relationships/chart" Target="../charts/chart78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2.xml"/><Relationship Id="rId7" Type="http://schemas.openxmlformats.org/officeDocument/2006/relationships/chart" Target="../charts/chart783.xml"/><Relationship Id="rId8" Type="http://schemas.openxmlformats.org/officeDocument/2006/relationships/chart" Target="../charts/chart784.xml"/><Relationship Id="rId9" Type="http://schemas.openxmlformats.org/officeDocument/2006/relationships/chart" Target="../charts/chart785.xml"/><Relationship Id="rId10" Type="http://schemas.openxmlformats.org/officeDocument/2006/relationships/chart" Target="../charts/chart786.xml"/><Relationship Id="rId11" Type="http://schemas.openxmlformats.org/officeDocument/2006/relationships/chart" Target="../charts/chart787.xml"/><Relationship Id="rId12" Type="http://schemas.openxmlformats.org/officeDocument/2006/relationships/chart" Target="../charts/chart788.xml"/><Relationship Id="rId13" Type="http://schemas.openxmlformats.org/officeDocument/2006/relationships/chart" Target="../charts/chart789.xml"/><Relationship Id="rId14" Type="http://schemas.openxmlformats.org/officeDocument/2006/relationships/chart" Target="../charts/chart790.xml"/><Relationship Id="rId15" Type="http://schemas.openxmlformats.org/officeDocument/2006/relationships/chart" Target="../charts/chart791.xml"/><Relationship Id="rId16" Type="http://schemas.openxmlformats.org/officeDocument/2006/relationships/chart" Target="../charts/chart79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3.xml"/><Relationship Id="rId7" Type="http://schemas.openxmlformats.org/officeDocument/2006/relationships/chart" Target="../charts/chart794.xml"/><Relationship Id="rId8" Type="http://schemas.openxmlformats.org/officeDocument/2006/relationships/chart" Target="../charts/chart795.xml"/><Relationship Id="rId9" Type="http://schemas.openxmlformats.org/officeDocument/2006/relationships/chart" Target="../charts/chart796.xml"/><Relationship Id="rId10" Type="http://schemas.openxmlformats.org/officeDocument/2006/relationships/chart" Target="../charts/chart797.xml"/><Relationship Id="rId11" Type="http://schemas.openxmlformats.org/officeDocument/2006/relationships/chart" Target="../charts/chart798.xml"/><Relationship Id="rId12" Type="http://schemas.openxmlformats.org/officeDocument/2006/relationships/chart" Target="../charts/chart799.xml"/><Relationship Id="rId13" Type="http://schemas.openxmlformats.org/officeDocument/2006/relationships/chart" Target="../charts/chart800.xml"/><Relationship Id="rId14" Type="http://schemas.openxmlformats.org/officeDocument/2006/relationships/chart" Target="../charts/chart801.xml"/><Relationship Id="rId15" Type="http://schemas.openxmlformats.org/officeDocument/2006/relationships/chart" Target="../charts/chart802.xml"/><Relationship Id="rId16" Type="http://schemas.openxmlformats.org/officeDocument/2006/relationships/chart" Target="../charts/chart80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4.xml"/><Relationship Id="rId7" Type="http://schemas.openxmlformats.org/officeDocument/2006/relationships/chart" Target="../charts/chart805.xml"/><Relationship Id="rId8" Type="http://schemas.openxmlformats.org/officeDocument/2006/relationships/chart" Target="../charts/chart806.xml"/><Relationship Id="rId9" Type="http://schemas.openxmlformats.org/officeDocument/2006/relationships/chart" Target="../charts/chart807.xml"/><Relationship Id="rId10" Type="http://schemas.openxmlformats.org/officeDocument/2006/relationships/chart" Target="../charts/chart808.xml"/><Relationship Id="rId11" Type="http://schemas.openxmlformats.org/officeDocument/2006/relationships/chart" Target="../charts/chart809.xml"/><Relationship Id="rId12" Type="http://schemas.openxmlformats.org/officeDocument/2006/relationships/chart" Target="../charts/chart810.xml"/><Relationship Id="rId13" Type="http://schemas.openxmlformats.org/officeDocument/2006/relationships/chart" Target="../charts/chart811.xml"/><Relationship Id="rId14" Type="http://schemas.openxmlformats.org/officeDocument/2006/relationships/chart" Target="../charts/chart812.xml"/><Relationship Id="rId15" Type="http://schemas.openxmlformats.org/officeDocument/2006/relationships/chart" Target="../charts/chart813.xml"/><Relationship Id="rId16" Type="http://schemas.openxmlformats.org/officeDocument/2006/relationships/chart" Target="../charts/chart81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5.xml"/><Relationship Id="rId7" Type="http://schemas.openxmlformats.org/officeDocument/2006/relationships/chart" Target="../charts/chart816.xml"/><Relationship Id="rId8" Type="http://schemas.openxmlformats.org/officeDocument/2006/relationships/chart" Target="../charts/chart817.xml"/><Relationship Id="rId9" Type="http://schemas.openxmlformats.org/officeDocument/2006/relationships/chart" Target="../charts/chart818.xml"/><Relationship Id="rId10" Type="http://schemas.openxmlformats.org/officeDocument/2006/relationships/chart" Target="../charts/chart819.xml"/><Relationship Id="rId11" Type="http://schemas.openxmlformats.org/officeDocument/2006/relationships/chart" Target="../charts/chart820.xml"/><Relationship Id="rId12" Type="http://schemas.openxmlformats.org/officeDocument/2006/relationships/chart" Target="../charts/chart821.xml"/><Relationship Id="rId13" Type="http://schemas.openxmlformats.org/officeDocument/2006/relationships/chart" Target="../charts/chart822.xml"/><Relationship Id="rId14" Type="http://schemas.openxmlformats.org/officeDocument/2006/relationships/chart" Target="../charts/chart823.xml"/><Relationship Id="rId15" Type="http://schemas.openxmlformats.org/officeDocument/2006/relationships/chart" Target="../charts/chart824.xml"/><Relationship Id="rId16" Type="http://schemas.openxmlformats.org/officeDocument/2006/relationships/chart" Target="../charts/chart82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6.xml"/><Relationship Id="rId7" Type="http://schemas.openxmlformats.org/officeDocument/2006/relationships/chart" Target="../charts/chart827.xml"/><Relationship Id="rId8" Type="http://schemas.openxmlformats.org/officeDocument/2006/relationships/chart" Target="../charts/chart828.xml"/><Relationship Id="rId9" Type="http://schemas.openxmlformats.org/officeDocument/2006/relationships/chart" Target="../charts/chart829.xml"/><Relationship Id="rId10" Type="http://schemas.openxmlformats.org/officeDocument/2006/relationships/chart" Target="../charts/chart830.xml"/><Relationship Id="rId11" Type="http://schemas.openxmlformats.org/officeDocument/2006/relationships/chart" Target="../charts/chart831.xml"/><Relationship Id="rId12" Type="http://schemas.openxmlformats.org/officeDocument/2006/relationships/chart" Target="../charts/chart832.xml"/><Relationship Id="rId13" Type="http://schemas.openxmlformats.org/officeDocument/2006/relationships/chart" Target="../charts/chart833.xml"/><Relationship Id="rId14" Type="http://schemas.openxmlformats.org/officeDocument/2006/relationships/chart" Target="../charts/chart834.xml"/><Relationship Id="rId15" Type="http://schemas.openxmlformats.org/officeDocument/2006/relationships/chart" Target="../charts/chart835.xml"/><Relationship Id="rId16" Type="http://schemas.openxmlformats.org/officeDocument/2006/relationships/chart" Target="../charts/chart83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7.xml"/><Relationship Id="rId7" Type="http://schemas.openxmlformats.org/officeDocument/2006/relationships/chart" Target="../charts/chart838.xml"/><Relationship Id="rId8" Type="http://schemas.openxmlformats.org/officeDocument/2006/relationships/chart" Target="../charts/chart839.xml"/><Relationship Id="rId9" Type="http://schemas.openxmlformats.org/officeDocument/2006/relationships/chart" Target="../charts/chart840.xml"/><Relationship Id="rId10" Type="http://schemas.openxmlformats.org/officeDocument/2006/relationships/chart" Target="../charts/chart841.xml"/><Relationship Id="rId11" Type="http://schemas.openxmlformats.org/officeDocument/2006/relationships/chart" Target="../charts/chart842.xml"/><Relationship Id="rId12" Type="http://schemas.openxmlformats.org/officeDocument/2006/relationships/chart" Target="../charts/chart843.xml"/><Relationship Id="rId13" Type="http://schemas.openxmlformats.org/officeDocument/2006/relationships/chart" Target="../charts/chart844.xml"/><Relationship Id="rId14" Type="http://schemas.openxmlformats.org/officeDocument/2006/relationships/chart" Target="../charts/chart845.xml"/><Relationship Id="rId15" Type="http://schemas.openxmlformats.org/officeDocument/2006/relationships/chart" Target="../charts/chart846.xml"/><Relationship Id="rId16" Type="http://schemas.openxmlformats.org/officeDocument/2006/relationships/chart" Target="../charts/chart84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8.xml"/><Relationship Id="rId7" Type="http://schemas.openxmlformats.org/officeDocument/2006/relationships/chart" Target="../charts/chart849.xml"/><Relationship Id="rId8" Type="http://schemas.openxmlformats.org/officeDocument/2006/relationships/chart" Target="../charts/chart850.xml"/><Relationship Id="rId9" Type="http://schemas.openxmlformats.org/officeDocument/2006/relationships/chart" Target="../charts/chart851.xml"/><Relationship Id="rId10" Type="http://schemas.openxmlformats.org/officeDocument/2006/relationships/chart" Target="../charts/chart852.xml"/><Relationship Id="rId11" Type="http://schemas.openxmlformats.org/officeDocument/2006/relationships/chart" Target="../charts/chart853.xml"/><Relationship Id="rId12" Type="http://schemas.openxmlformats.org/officeDocument/2006/relationships/chart" Target="../charts/chart854.xml"/><Relationship Id="rId13" Type="http://schemas.openxmlformats.org/officeDocument/2006/relationships/chart" Target="../charts/chart855.xml"/><Relationship Id="rId14" Type="http://schemas.openxmlformats.org/officeDocument/2006/relationships/chart" Target="../charts/chart856.xml"/><Relationship Id="rId15" Type="http://schemas.openxmlformats.org/officeDocument/2006/relationships/chart" Target="../charts/chart857.xml"/><Relationship Id="rId16" Type="http://schemas.openxmlformats.org/officeDocument/2006/relationships/chart" Target="../charts/chart85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9.xml"/><Relationship Id="rId7" Type="http://schemas.openxmlformats.org/officeDocument/2006/relationships/chart" Target="../charts/chart860.xml"/><Relationship Id="rId8" Type="http://schemas.openxmlformats.org/officeDocument/2006/relationships/chart" Target="../charts/chart861.xml"/><Relationship Id="rId9" Type="http://schemas.openxmlformats.org/officeDocument/2006/relationships/chart" Target="../charts/chart862.xml"/><Relationship Id="rId10" Type="http://schemas.openxmlformats.org/officeDocument/2006/relationships/chart" Target="../charts/chart863.xml"/><Relationship Id="rId11" Type="http://schemas.openxmlformats.org/officeDocument/2006/relationships/chart" Target="../charts/chart864.xml"/><Relationship Id="rId12" Type="http://schemas.openxmlformats.org/officeDocument/2006/relationships/chart" Target="../charts/chart865.xml"/><Relationship Id="rId13" Type="http://schemas.openxmlformats.org/officeDocument/2006/relationships/chart" Target="../charts/chart866.xml"/><Relationship Id="rId14" Type="http://schemas.openxmlformats.org/officeDocument/2006/relationships/chart" Target="../charts/chart867.xml"/><Relationship Id="rId15" Type="http://schemas.openxmlformats.org/officeDocument/2006/relationships/chart" Target="../charts/chart868.xml"/><Relationship Id="rId16" Type="http://schemas.openxmlformats.org/officeDocument/2006/relationships/chart" Target="../charts/chart86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0.xml"/><Relationship Id="rId7" Type="http://schemas.openxmlformats.org/officeDocument/2006/relationships/chart" Target="../charts/chart871.xml"/><Relationship Id="rId8" Type="http://schemas.openxmlformats.org/officeDocument/2006/relationships/chart" Target="../charts/chart872.xml"/><Relationship Id="rId9" Type="http://schemas.openxmlformats.org/officeDocument/2006/relationships/chart" Target="../charts/chart873.xml"/><Relationship Id="rId10" Type="http://schemas.openxmlformats.org/officeDocument/2006/relationships/chart" Target="../charts/chart874.xml"/><Relationship Id="rId11" Type="http://schemas.openxmlformats.org/officeDocument/2006/relationships/chart" Target="../charts/chart875.xml"/><Relationship Id="rId12" Type="http://schemas.openxmlformats.org/officeDocument/2006/relationships/chart" Target="../charts/chart876.xml"/><Relationship Id="rId13" Type="http://schemas.openxmlformats.org/officeDocument/2006/relationships/chart" Target="../charts/chart877.xml"/><Relationship Id="rId14" Type="http://schemas.openxmlformats.org/officeDocument/2006/relationships/chart" Target="../charts/chart878.xml"/><Relationship Id="rId15" Type="http://schemas.openxmlformats.org/officeDocument/2006/relationships/chart" Target="../charts/chart879.xml"/><Relationship Id="rId16" Type="http://schemas.openxmlformats.org/officeDocument/2006/relationships/chart" Target="../charts/chart8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1.xml"/><Relationship Id="rId7" Type="http://schemas.openxmlformats.org/officeDocument/2006/relationships/chart" Target="../charts/chart882.xml"/><Relationship Id="rId8" Type="http://schemas.openxmlformats.org/officeDocument/2006/relationships/chart" Target="../charts/chart883.xml"/><Relationship Id="rId9" Type="http://schemas.openxmlformats.org/officeDocument/2006/relationships/chart" Target="../charts/chart884.xml"/><Relationship Id="rId10" Type="http://schemas.openxmlformats.org/officeDocument/2006/relationships/chart" Target="../charts/chart885.xml"/><Relationship Id="rId11" Type="http://schemas.openxmlformats.org/officeDocument/2006/relationships/chart" Target="../charts/chart886.xml"/><Relationship Id="rId12" Type="http://schemas.openxmlformats.org/officeDocument/2006/relationships/chart" Target="../charts/chart887.xml"/><Relationship Id="rId13" Type="http://schemas.openxmlformats.org/officeDocument/2006/relationships/chart" Target="../charts/chart888.xml"/><Relationship Id="rId14" Type="http://schemas.openxmlformats.org/officeDocument/2006/relationships/chart" Target="../charts/chart889.xml"/><Relationship Id="rId15" Type="http://schemas.openxmlformats.org/officeDocument/2006/relationships/chart" Target="../charts/chart890.xml"/><Relationship Id="rId16" Type="http://schemas.openxmlformats.org/officeDocument/2006/relationships/chart" Target="../charts/chart89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2.xml"/><Relationship Id="rId7" Type="http://schemas.openxmlformats.org/officeDocument/2006/relationships/chart" Target="../charts/chart893.xml"/><Relationship Id="rId8" Type="http://schemas.openxmlformats.org/officeDocument/2006/relationships/chart" Target="../charts/chart894.xml"/><Relationship Id="rId9" Type="http://schemas.openxmlformats.org/officeDocument/2006/relationships/chart" Target="../charts/chart895.xml"/><Relationship Id="rId10" Type="http://schemas.openxmlformats.org/officeDocument/2006/relationships/chart" Target="../charts/chart896.xml"/><Relationship Id="rId11" Type="http://schemas.openxmlformats.org/officeDocument/2006/relationships/chart" Target="../charts/chart897.xml"/><Relationship Id="rId12" Type="http://schemas.openxmlformats.org/officeDocument/2006/relationships/chart" Target="../charts/chart898.xml"/><Relationship Id="rId13" Type="http://schemas.openxmlformats.org/officeDocument/2006/relationships/chart" Target="../charts/chart899.xml"/><Relationship Id="rId14" Type="http://schemas.openxmlformats.org/officeDocument/2006/relationships/chart" Target="../charts/chart900.xml"/><Relationship Id="rId15" Type="http://schemas.openxmlformats.org/officeDocument/2006/relationships/chart" Target="../charts/chart901.xml"/><Relationship Id="rId16" Type="http://schemas.openxmlformats.org/officeDocument/2006/relationships/chart" Target="../charts/chart90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3.xml"/><Relationship Id="rId7" Type="http://schemas.openxmlformats.org/officeDocument/2006/relationships/chart" Target="../charts/chart904.xml"/><Relationship Id="rId8" Type="http://schemas.openxmlformats.org/officeDocument/2006/relationships/chart" Target="../charts/chart905.xml"/><Relationship Id="rId9" Type="http://schemas.openxmlformats.org/officeDocument/2006/relationships/chart" Target="../charts/chart906.xml"/><Relationship Id="rId10" Type="http://schemas.openxmlformats.org/officeDocument/2006/relationships/chart" Target="../charts/chart907.xml"/><Relationship Id="rId11" Type="http://schemas.openxmlformats.org/officeDocument/2006/relationships/chart" Target="../charts/chart908.xml"/><Relationship Id="rId12" Type="http://schemas.openxmlformats.org/officeDocument/2006/relationships/chart" Target="../charts/chart909.xml"/><Relationship Id="rId13" Type="http://schemas.openxmlformats.org/officeDocument/2006/relationships/chart" Target="../charts/chart910.xml"/><Relationship Id="rId14" Type="http://schemas.openxmlformats.org/officeDocument/2006/relationships/chart" Target="../charts/chart911.xml"/><Relationship Id="rId15" Type="http://schemas.openxmlformats.org/officeDocument/2006/relationships/chart" Target="../charts/chart912.xml"/><Relationship Id="rId16" Type="http://schemas.openxmlformats.org/officeDocument/2006/relationships/chart" Target="../charts/chart91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4.xml"/><Relationship Id="rId7" Type="http://schemas.openxmlformats.org/officeDocument/2006/relationships/chart" Target="../charts/chart915.xml"/><Relationship Id="rId8" Type="http://schemas.openxmlformats.org/officeDocument/2006/relationships/chart" Target="../charts/chart916.xml"/><Relationship Id="rId9" Type="http://schemas.openxmlformats.org/officeDocument/2006/relationships/chart" Target="../charts/chart917.xml"/><Relationship Id="rId10" Type="http://schemas.openxmlformats.org/officeDocument/2006/relationships/chart" Target="../charts/chart918.xml"/><Relationship Id="rId11" Type="http://schemas.openxmlformats.org/officeDocument/2006/relationships/chart" Target="../charts/chart919.xml"/><Relationship Id="rId12" Type="http://schemas.openxmlformats.org/officeDocument/2006/relationships/chart" Target="../charts/chart920.xml"/><Relationship Id="rId13" Type="http://schemas.openxmlformats.org/officeDocument/2006/relationships/chart" Target="../charts/chart921.xml"/><Relationship Id="rId14" Type="http://schemas.openxmlformats.org/officeDocument/2006/relationships/chart" Target="../charts/chart922.xml"/><Relationship Id="rId15" Type="http://schemas.openxmlformats.org/officeDocument/2006/relationships/chart" Target="../charts/chart923.xml"/><Relationship Id="rId16" Type="http://schemas.openxmlformats.org/officeDocument/2006/relationships/chart" Target="../charts/chart92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 Id="rId7" Type="http://schemas.openxmlformats.org/officeDocument/2006/relationships/chart" Target="../charts/chart926.xml"/><Relationship Id="rId8" Type="http://schemas.openxmlformats.org/officeDocument/2006/relationships/chart" Target="../charts/chart927.xml"/><Relationship Id="rId9" Type="http://schemas.openxmlformats.org/officeDocument/2006/relationships/chart" Target="../charts/chart928.xml"/><Relationship Id="rId10" Type="http://schemas.openxmlformats.org/officeDocument/2006/relationships/chart" Target="../charts/chart929.xml"/><Relationship Id="rId11" Type="http://schemas.openxmlformats.org/officeDocument/2006/relationships/chart" Target="../charts/chart930.xml"/><Relationship Id="rId12" Type="http://schemas.openxmlformats.org/officeDocument/2006/relationships/chart" Target="../charts/chart931.xml"/><Relationship Id="rId13" Type="http://schemas.openxmlformats.org/officeDocument/2006/relationships/chart" Target="../charts/chart932.xml"/><Relationship Id="rId14" Type="http://schemas.openxmlformats.org/officeDocument/2006/relationships/chart" Target="../charts/chart933.xml"/><Relationship Id="rId15" Type="http://schemas.openxmlformats.org/officeDocument/2006/relationships/chart" Target="../charts/chart934.xml"/><Relationship Id="rId16" Type="http://schemas.openxmlformats.org/officeDocument/2006/relationships/chart" Target="../charts/chart93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6.xml"/><Relationship Id="rId7" Type="http://schemas.openxmlformats.org/officeDocument/2006/relationships/chart" Target="../charts/chart937.xml"/><Relationship Id="rId8" Type="http://schemas.openxmlformats.org/officeDocument/2006/relationships/chart" Target="../charts/chart938.xml"/><Relationship Id="rId9" Type="http://schemas.openxmlformats.org/officeDocument/2006/relationships/chart" Target="../charts/chart939.xml"/><Relationship Id="rId10" Type="http://schemas.openxmlformats.org/officeDocument/2006/relationships/chart" Target="../charts/chart940.xml"/><Relationship Id="rId11" Type="http://schemas.openxmlformats.org/officeDocument/2006/relationships/chart" Target="../charts/chart941.xml"/><Relationship Id="rId12" Type="http://schemas.openxmlformats.org/officeDocument/2006/relationships/chart" Target="../charts/chart942.xml"/><Relationship Id="rId13" Type="http://schemas.openxmlformats.org/officeDocument/2006/relationships/chart" Target="../charts/chart943.xml"/><Relationship Id="rId14" Type="http://schemas.openxmlformats.org/officeDocument/2006/relationships/chart" Target="../charts/chart944.xml"/><Relationship Id="rId15" Type="http://schemas.openxmlformats.org/officeDocument/2006/relationships/chart" Target="../charts/chart945.xml"/><Relationship Id="rId16" Type="http://schemas.openxmlformats.org/officeDocument/2006/relationships/chart" Target="../charts/chart94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7.xml"/><Relationship Id="rId7" Type="http://schemas.openxmlformats.org/officeDocument/2006/relationships/chart" Target="../charts/chart948.xml"/><Relationship Id="rId8" Type="http://schemas.openxmlformats.org/officeDocument/2006/relationships/chart" Target="../charts/chart949.xml"/><Relationship Id="rId9" Type="http://schemas.openxmlformats.org/officeDocument/2006/relationships/chart" Target="../charts/chart950.xml"/><Relationship Id="rId10" Type="http://schemas.openxmlformats.org/officeDocument/2006/relationships/chart" Target="../charts/chart951.xml"/><Relationship Id="rId11" Type="http://schemas.openxmlformats.org/officeDocument/2006/relationships/chart" Target="../charts/chart952.xml"/><Relationship Id="rId12" Type="http://schemas.openxmlformats.org/officeDocument/2006/relationships/chart" Target="../charts/chart953.xml"/><Relationship Id="rId13" Type="http://schemas.openxmlformats.org/officeDocument/2006/relationships/chart" Target="../charts/chart954.xml"/><Relationship Id="rId14" Type="http://schemas.openxmlformats.org/officeDocument/2006/relationships/chart" Target="../charts/chart955.xml"/><Relationship Id="rId15" Type="http://schemas.openxmlformats.org/officeDocument/2006/relationships/chart" Target="../charts/chart956.xml"/><Relationship Id="rId16" Type="http://schemas.openxmlformats.org/officeDocument/2006/relationships/chart" Target="../charts/chart95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8.xml"/><Relationship Id="rId7" Type="http://schemas.openxmlformats.org/officeDocument/2006/relationships/chart" Target="../charts/chart959.xml"/><Relationship Id="rId8" Type="http://schemas.openxmlformats.org/officeDocument/2006/relationships/chart" Target="../charts/chart960.xml"/><Relationship Id="rId9" Type="http://schemas.openxmlformats.org/officeDocument/2006/relationships/chart" Target="../charts/chart961.xml"/><Relationship Id="rId10" Type="http://schemas.openxmlformats.org/officeDocument/2006/relationships/chart" Target="../charts/chart962.xml"/><Relationship Id="rId11" Type="http://schemas.openxmlformats.org/officeDocument/2006/relationships/chart" Target="../charts/chart963.xml"/><Relationship Id="rId12" Type="http://schemas.openxmlformats.org/officeDocument/2006/relationships/chart" Target="../charts/chart964.xml"/><Relationship Id="rId13" Type="http://schemas.openxmlformats.org/officeDocument/2006/relationships/chart" Target="../charts/chart965.xml"/><Relationship Id="rId14" Type="http://schemas.openxmlformats.org/officeDocument/2006/relationships/chart" Target="../charts/chart966.xml"/><Relationship Id="rId15" Type="http://schemas.openxmlformats.org/officeDocument/2006/relationships/chart" Target="../charts/chart967.xml"/><Relationship Id="rId16" Type="http://schemas.openxmlformats.org/officeDocument/2006/relationships/chart" Target="../charts/chart96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9.xml"/><Relationship Id="rId7" Type="http://schemas.openxmlformats.org/officeDocument/2006/relationships/chart" Target="../charts/chart970.xml"/><Relationship Id="rId8" Type="http://schemas.openxmlformats.org/officeDocument/2006/relationships/chart" Target="../charts/chart971.xml"/><Relationship Id="rId9" Type="http://schemas.openxmlformats.org/officeDocument/2006/relationships/chart" Target="../charts/chart972.xml"/><Relationship Id="rId10" Type="http://schemas.openxmlformats.org/officeDocument/2006/relationships/chart" Target="../charts/chart973.xml"/><Relationship Id="rId11" Type="http://schemas.openxmlformats.org/officeDocument/2006/relationships/chart" Target="../charts/chart974.xml"/><Relationship Id="rId12" Type="http://schemas.openxmlformats.org/officeDocument/2006/relationships/chart" Target="../charts/chart975.xml"/><Relationship Id="rId13" Type="http://schemas.openxmlformats.org/officeDocument/2006/relationships/chart" Target="../charts/chart976.xml"/><Relationship Id="rId14" Type="http://schemas.openxmlformats.org/officeDocument/2006/relationships/chart" Target="../charts/chart977.xml"/><Relationship Id="rId15" Type="http://schemas.openxmlformats.org/officeDocument/2006/relationships/chart" Target="../charts/chart978.xml"/><Relationship Id="rId16" Type="http://schemas.openxmlformats.org/officeDocument/2006/relationships/chart" Target="../charts/chart97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0.xml"/><Relationship Id="rId7" Type="http://schemas.openxmlformats.org/officeDocument/2006/relationships/chart" Target="../charts/chart981.xml"/><Relationship Id="rId8" Type="http://schemas.openxmlformats.org/officeDocument/2006/relationships/chart" Target="../charts/chart982.xml"/><Relationship Id="rId9" Type="http://schemas.openxmlformats.org/officeDocument/2006/relationships/chart" Target="../charts/chart983.xml"/><Relationship Id="rId10" Type="http://schemas.openxmlformats.org/officeDocument/2006/relationships/chart" Target="../charts/chart984.xml"/><Relationship Id="rId11" Type="http://schemas.openxmlformats.org/officeDocument/2006/relationships/chart" Target="../charts/chart985.xml"/><Relationship Id="rId12" Type="http://schemas.openxmlformats.org/officeDocument/2006/relationships/chart" Target="../charts/chart986.xml"/><Relationship Id="rId13" Type="http://schemas.openxmlformats.org/officeDocument/2006/relationships/chart" Target="../charts/chart987.xml"/><Relationship Id="rId14" Type="http://schemas.openxmlformats.org/officeDocument/2006/relationships/chart" Target="../charts/chart988.xml"/><Relationship Id="rId15" Type="http://schemas.openxmlformats.org/officeDocument/2006/relationships/chart" Target="../charts/chart989.xml"/><Relationship Id="rId16" Type="http://schemas.openxmlformats.org/officeDocument/2006/relationships/chart" Target="../charts/chart9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1.xml"/><Relationship Id="rId7" Type="http://schemas.openxmlformats.org/officeDocument/2006/relationships/chart" Target="../charts/chart992.xml"/><Relationship Id="rId8" Type="http://schemas.openxmlformats.org/officeDocument/2006/relationships/chart" Target="../charts/chart993.xml"/><Relationship Id="rId9" Type="http://schemas.openxmlformats.org/officeDocument/2006/relationships/chart" Target="../charts/chart994.xml"/><Relationship Id="rId10" Type="http://schemas.openxmlformats.org/officeDocument/2006/relationships/chart" Target="../charts/chart995.xml"/><Relationship Id="rId11" Type="http://schemas.openxmlformats.org/officeDocument/2006/relationships/chart" Target="../charts/chart996.xml"/><Relationship Id="rId12" Type="http://schemas.openxmlformats.org/officeDocument/2006/relationships/chart" Target="../charts/chart997.xml"/><Relationship Id="rId13" Type="http://schemas.openxmlformats.org/officeDocument/2006/relationships/chart" Target="../charts/chart998.xml"/><Relationship Id="rId14" Type="http://schemas.openxmlformats.org/officeDocument/2006/relationships/chart" Target="../charts/chart999.xml"/><Relationship Id="rId15" Type="http://schemas.openxmlformats.org/officeDocument/2006/relationships/chart" Target="../charts/chart1000.xml"/><Relationship Id="rId16" Type="http://schemas.openxmlformats.org/officeDocument/2006/relationships/chart" Target="../charts/chart100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2.xml"/><Relationship Id="rId7" Type="http://schemas.openxmlformats.org/officeDocument/2006/relationships/chart" Target="../charts/chart1003.xml"/><Relationship Id="rId8" Type="http://schemas.openxmlformats.org/officeDocument/2006/relationships/chart" Target="../charts/chart1004.xml"/><Relationship Id="rId9" Type="http://schemas.openxmlformats.org/officeDocument/2006/relationships/chart" Target="../charts/chart1005.xml"/><Relationship Id="rId10" Type="http://schemas.openxmlformats.org/officeDocument/2006/relationships/chart" Target="../charts/chart1006.xml"/><Relationship Id="rId11" Type="http://schemas.openxmlformats.org/officeDocument/2006/relationships/chart" Target="../charts/chart1007.xml"/><Relationship Id="rId12" Type="http://schemas.openxmlformats.org/officeDocument/2006/relationships/chart" Target="../charts/chart1008.xml"/><Relationship Id="rId13" Type="http://schemas.openxmlformats.org/officeDocument/2006/relationships/chart" Target="../charts/chart1009.xml"/><Relationship Id="rId14" Type="http://schemas.openxmlformats.org/officeDocument/2006/relationships/chart" Target="../charts/chart1010.xml"/><Relationship Id="rId15" Type="http://schemas.openxmlformats.org/officeDocument/2006/relationships/chart" Target="../charts/chart1011.xml"/><Relationship Id="rId16" Type="http://schemas.openxmlformats.org/officeDocument/2006/relationships/chart" Target="../charts/chart101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3.xml"/><Relationship Id="rId7" Type="http://schemas.openxmlformats.org/officeDocument/2006/relationships/chart" Target="../charts/chart1014.xml"/><Relationship Id="rId8" Type="http://schemas.openxmlformats.org/officeDocument/2006/relationships/chart" Target="../charts/chart1015.xml"/><Relationship Id="rId9" Type="http://schemas.openxmlformats.org/officeDocument/2006/relationships/chart" Target="../charts/chart1016.xml"/><Relationship Id="rId10" Type="http://schemas.openxmlformats.org/officeDocument/2006/relationships/chart" Target="../charts/chart1017.xml"/><Relationship Id="rId11" Type="http://schemas.openxmlformats.org/officeDocument/2006/relationships/chart" Target="../charts/chart1018.xml"/><Relationship Id="rId12" Type="http://schemas.openxmlformats.org/officeDocument/2006/relationships/chart" Target="../charts/chart1019.xml"/><Relationship Id="rId13" Type="http://schemas.openxmlformats.org/officeDocument/2006/relationships/chart" Target="../charts/chart1020.xml"/><Relationship Id="rId14" Type="http://schemas.openxmlformats.org/officeDocument/2006/relationships/chart" Target="../charts/chart1021.xml"/><Relationship Id="rId15" Type="http://schemas.openxmlformats.org/officeDocument/2006/relationships/chart" Target="../charts/chart1022.xml"/><Relationship Id="rId16" Type="http://schemas.openxmlformats.org/officeDocument/2006/relationships/chart" Target="../charts/chart102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4.xml"/><Relationship Id="rId7" Type="http://schemas.openxmlformats.org/officeDocument/2006/relationships/chart" Target="../charts/chart1025.xml"/><Relationship Id="rId8" Type="http://schemas.openxmlformats.org/officeDocument/2006/relationships/chart" Target="../charts/chart1026.xml"/><Relationship Id="rId9" Type="http://schemas.openxmlformats.org/officeDocument/2006/relationships/chart" Target="../charts/chart1027.xml"/><Relationship Id="rId10" Type="http://schemas.openxmlformats.org/officeDocument/2006/relationships/chart" Target="../charts/chart1028.xml"/><Relationship Id="rId11" Type="http://schemas.openxmlformats.org/officeDocument/2006/relationships/chart" Target="../charts/chart1029.xml"/><Relationship Id="rId12" Type="http://schemas.openxmlformats.org/officeDocument/2006/relationships/chart" Target="../charts/chart1030.xml"/><Relationship Id="rId13" Type="http://schemas.openxmlformats.org/officeDocument/2006/relationships/chart" Target="../charts/chart1031.xml"/><Relationship Id="rId14" Type="http://schemas.openxmlformats.org/officeDocument/2006/relationships/chart" Target="../charts/chart1032.xml"/><Relationship Id="rId15" Type="http://schemas.openxmlformats.org/officeDocument/2006/relationships/chart" Target="../charts/chart1033.xml"/><Relationship Id="rId16" Type="http://schemas.openxmlformats.org/officeDocument/2006/relationships/chart" Target="../charts/chart103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5.xml"/><Relationship Id="rId7" Type="http://schemas.openxmlformats.org/officeDocument/2006/relationships/chart" Target="../charts/chart1036.xml"/><Relationship Id="rId8" Type="http://schemas.openxmlformats.org/officeDocument/2006/relationships/chart" Target="../charts/chart1037.xml"/><Relationship Id="rId9" Type="http://schemas.openxmlformats.org/officeDocument/2006/relationships/chart" Target="../charts/chart1038.xml"/><Relationship Id="rId10" Type="http://schemas.openxmlformats.org/officeDocument/2006/relationships/chart" Target="../charts/chart1039.xml"/><Relationship Id="rId11" Type="http://schemas.openxmlformats.org/officeDocument/2006/relationships/chart" Target="../charts/chart1040.xml"/><Relationship Id="rId12" Type="http://schemas.openxmlformats.org/officeDocument/2006/relationships/chart" Target="../charts/chart1041.xml"/><Relationship Id="rId13" Type="http://schemas.openxmlformats.org/officeDocument/2006/relationships/chart" Target="../charts/chart1042.xml"/><Relationship Id="rId14" Type="http://schemas.openxmlformats.org/officeDocument/2006/relationships/chart" Target="../charts/chart1043.xml"/><Relationship Id="rId15" Type="http://schemas.openxmlformats.org/officeDocument/2006/relationships/chart" Target="../charts/chart1044.xml"/><Relationship Id="rId16" Type="http://schemas.openxmlformats.org/officeDocument/2006/relationships/chart" Target="../charts/chart104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6.xml"/><Relationship Id="rId7" Type="http://schemas.openxmlformats.org/officeDocument/2006/relationships/chart" Target="../charts/chart1047.xml"/><Relationship Id="rId8" Type="http://schemas.openxmlformats.org/officeDocument/2006/relationships/chart" Target="../charts/chart1048.xml"/><Relationship Id="rId9" Type="http://schemas.openxmlformats.org/officeDocument/2006/relationships/chart" Target="../charts/chart1049.xml"/><Relationship Id="rId10" Type="http://schemas.openxmlformats.org/officeDocument/2006/relationships/chart" Target="../charts/chart1050.xml"/><Relationship Id="rId11" Type="http://schemas.openxmlformats.org/officeDocument/2006/relationships/chart" Target="../charts/chart1051.xml"/><Relationship Id="rId12" Type="http://schemas.openxmlformats.org/officeDocument/2006/relationships/chart" Target="../charts/chart1052.xml"/><Relationship Id="rId13" Type="http://schemas.openxmlformats.org/officeDocument/2006/relationships/chart" Target="../charts/chart1053.xml"/><Relationship Id="rId14" Type="http://schemas.openxmlformats.org/officeDocument/2006/relationships/chart" Target="../charts/chart1054.xml"/><Relationship Id="rId15" Type="http://schemas.openxmlformats.org/officeDocument/2006/relationships/chart" Target="../charts/chart1055.xml"/><Relationship Id="rId16" Type="http://schemas.openxmlformats.org/officeDocument/2006/relationships/chart" Target="../charts/chart105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7.xml"/><Relationship Id="rId7" Type="http://schemas.openxmlformats.org/officeDocument/2006/relationships/chart" Target="../charts/chart1058.xml"/><Relationship Id="rId8" Type="http://schemas.openxmlformats.org/officeDocument/2006/relationships/chart" Target="../charts/chart1059.xml"/><Relationship Id="rId9" Type="http://schemas.openxmlformats.org/officeDocument/2006/relationships/chart" Target="../charts/chart1060.xml"/><Relationship Id="rId10" Type="http://schemas.openxmlformats.org/officeDocument/2006/relationships/chart" Target="../charts/chart1061.xml"/><Relationship Id="rId11" Type="http://schemas.openxmlformats.org/officeDocument/2006/relationships/chart" Target="../charts/chart1062.xml"/><Relationship Id="rId12" Type="http://schemas.openxmlformats.org/officeDocument/2006/relationships/chart" Target="../charts/chart1063.xml"/><Relationship Id="rId13" Type="http://schemas.openxmlformats.org/officeDocument/2006/relationships/chart" Target="../charts/chart1064.xml"/><Relationship Id="rId14" Type="http://schemas.openxmlformats.org/officeDocument/2006/relationships/chart" Target="../charts/chart1065.xml"/><Relationship Id="rId15" Type="http://schemas.openxmlformats.org/officeDocument/2006/relationships/chart" Target="../charts/chart1066.xml"/><Relationship Id="rId16" Type="http://schemas.openxmlformats.org/officeDocument/2006/relationships/chart" Target="../charts/chart106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8.xml"/><Relationship Id="rId7" Type="http://schemas.openxmlformats.org/officeDocument/2006/relationships/chart" Target="../charts/chart1069.xml"/><Relationship Id="rId8" Type="http://schemas.openxmlformats.org/officeDocument/2006/relationships/chart" Target="../charts/chart1070.xml"/><Relationship Id="rId9" Type="http://schemas.openxmlformats.org/officeDocument/2006/relationships/chart" Target="../charts/chart1071.xml"/><Relationship Id="rId10" Type="http://schemas.openxmlformats.org/officeDocument/2006/relationships/chart" Target="../charts/chart1072.xml"/><Relationship Id="rId11" Type="http://schemas.openxmlformats.org/officeDocument/2006/relationships/chart" Target="../charts/chart1073.xml"/><Relationship Id="rId12" Type="http://schemas.openxmlformats.org/officeDocument/2006/relationships/chart" Target="../charts/chart1074.xml"/><Relationship Id="rId13" Type="http://schemas.openxmlformats.org/officeDocument/2006/relationships/chart" Target="../charts/chart1075.xml"/><Relationship Id="rId14" Type="http://schemas.openxmlformats.org/officeDocument/2006/relationships/chart" Target="../charts/chart1076.xml"/><Relationship Id="rId15" Type="http://schemas.openxmlformats.org/officeDocument/2006/relationships/chart" Target="../charts/chart1077.xml"/><Relationship Id="rId16" Type="http://schemas.openxmlformats.org/officeDocument/2006/relationships/chart" Target="../charts/chart107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9.xml"/><Relationship Id="rId7" Type="http://schemas.openxmlformats.org/officeDocument/2006/relationships/chart" Target="../charts/chart1080.xml"/><Relationship Id="rId8" Type="http://schemas.openxmlformats.org/officeDocument/2006/relationships/chart" Target="../charts/chart1081.xml"/><Relationship Id="rId9" Type="http://schemas.openxmlformats.org/officeDocument/2006/relationships/chart" Target="../charts/chart1082.xml"/><Relationship Id="rId10" Type="http://schemas.openxmlformats.org/officeDocument/2006/relationships/chart" Target="../charts/chart1083.xml"/><Relationship Id="rId11" Type="http://schemas.openxmlformats.org/officeDocument/2006/relationships/chart" Target="../charts/chart1084.xml"/><Relationship Id="rId12" Type="http://schemas.openxmlformats.org/officeDocument/2006/relationships/chart" Target="../charts/chart1085.xml"/><Relationship Id="rId13" Type="http://schemas.openxmlformats.org/officeDocument/2006/relationships/chart" Target="../charts/chart1086.xml"/><Relationship Id="rId14" Type="http://schemas.openxmlformats.org/officeDocument/2006/relationships/chart" Target="../charts/chart1087.xml"/><Relationship Id="rId15" Type="http://schemas.openxmlformats.org/officeDocument/2006/relationships/chart" Target="../charts/chart1088.xml"/><Relationship Id="rId16" Type="http://schemas.openxmlformats.org/officeDocument/2006/relationships/chart" Target="../charts/chart10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51456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54115917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45499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21976307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1797026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0232573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0442228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410980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2725149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481204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684833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209800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830743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20847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2976039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0471022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46264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852195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006853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518228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81616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88491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814056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6493606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56869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9481351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120522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93250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56802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180997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77220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7018187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908790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0278640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920305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889137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413238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5474025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226730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833127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933778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431680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913432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89704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500286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1792745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037179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965585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6664890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2000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309738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956693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8257764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029846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743562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710369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234547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2222009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6237383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955491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096215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404684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963295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508152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4712865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2667197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632240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531724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6852896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2927057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450295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38561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195538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2317846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068953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7105850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288365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532231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634438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1737338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7283515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030962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50478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7416620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8767151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9684274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2184244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1571663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70161603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17627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5243950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8272057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6916351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392732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8883046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95451099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4862053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509060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04699689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19823074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52354680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23592933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7433400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37490253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3/2025</a:t>
            </a:fld>
            <a:endParaRPr lang="en-US" sz="500"/>
          </a:p>
        </p:txBody>
      </p:sp>
    </p:spTree>
    <p:extLst>
      <p:ext uri="{BB962C8B-B14F-4D97-AF65-F5344CB8AC3E}">
        <p14:creationId xmlns:p14="http://schemas.microsoft.com/office/powerpoint/2010/main" val="3078108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13965</Words>
  <Application>Microsoft Office PowerPoint</Application>
  <PresentationFormat>On-screen Show (16:9)</PresentationFormat>
  <Paragraphs>4095</Paragraphs>
  <Slides>105</Slides>
  <Notes>10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5</vt:i4>
      </vt:variant>
    </vt:vector>
  </HeadingPairs>
  <TitlesOfParts>
    <vt:vector size="11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3T09:2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